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tags/tag81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7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8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9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10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5" r:id="rId4"/>
    <p:sldMasterId id="2147483679" r:id="rId5"/>
    <p:sldMasterId id="2147483705" r:id="rId6"/>
    <p:sldMasterId id="2147483768" r:id="rId7"/>
    <p:sldMasterId id="2147483794" r:id="rId8"/>
    <p:sldMasterId id="2147483806" r:id="rId9"/>
    <p:sldMasterId id="2147483832" r:id="rId10"/>
    <p:sldMasterId id="2147483862" r:id="rId11"/>
    <p:sldMasterId id="2147483888" r:id="rId12"/>
    <p:sldMasterId id="2147483916" r:id="rId13"/>
  </p:sldMasterIdLst>
  <p:notesMasterIdLst>
    <p:notesMasterId r:id="rId15"/>
  </p:notesMasterIdLst>
  <p:sldIdLst>
    <p:sldId id="2147472277" r:id="rId14"/>
  </p:sldIdLst>
  <p:sldSz cx="12192000" cy="6858000"/>
  <p:notesSz cx="6858000" cy="9144000"/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2" roundtripDataSignature="AMtx7mjwWjhbvywlcSPa2npQ7X3AnVPO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28F0E7A-EB1D-B54E-EE33-BB2E63157D1C}" name="Sujay Mukherjee" initials="" userId="S::sujay.mukherjee@sbigrowth.com::e44d5b1a-3819-4072-b88d-08d3da5af9c5" providerId="AD"/>
  <p188:author id="{941943E6-360D-761E-1FCC-5E8558C06B72}" name="Alicia Lee" initials="" userId="S::alicia.lee@sbigrowth.com::452e7cf2-1e4e-43e8-acaf-feb221ed3e7e" providerId="AD"/>
  <p188:author id="{0410B1F8-C390-254E-E352-A8E57C1E1FD5}" name="Jamie Halpin" initials="JH" userId="S::jamie.halpin@sbigrowth.com::20084652-eaf7-4cd6-8141-1870b1d3878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B737"/>
    <a:srgbClr val="3D92D1"/>
    <a:srgbClr val="071E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043507-84A3-DD4D-9B5D-401BBB482189}" v="30" dt="2025-06-10T13:24:05.632"/>
  </p1510:revLst>
</p1510:revInfo>
</file>

<file path=ppt/tableStyles.xml><?xml version="1.0" encoding="utf-8"?>
<a:tblStyleLst xmlns:a="http://schemas.openxmlformats.org/drawingml/2006/main" def="{D3E852D2-F47E-4802-8DD8-A19A4EB232D6}">
  <a:tblStyle styleId="{D3E852D2-F47E-4802-8DD8-A19A4EB232D6}" styleName="Table_0">
    <a:wholeTbl>
      <a:tcTxStyle b="off" i="off">
        <a:font>
          <a:latin typeface="Avenir Next LT Pro"/>
          <a:ea typeface="Avenir Next LT Pro"/>
          <a:cs typeface="Avenir Next LT Pro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ECF7"/>
          </a:solidFill>
        </a:fill>
      </a:tcStyle>
    </a:wholeTbl>
    <a:band1H>
      <a:tcTxStyle/>
      <a:tcStyle>
        <a:tcBdr/>
        <a:fill>
          <a:solidFill>
            <a:srgbClr val="CAD7EE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AD7EE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4514B368-EF81-4305-B47F-95A0A4B10598}" styleName="Table_1">
    <a:wholeTbl>
      <a:tcTxStyle b="off" i="off">
        <a:font>
          <a:latin typeface="Avenir Next LT Pro"/>
          <a:ea typeface="Avenir Next LT Pro"/>
          <a:cs typeface="Avenir Next LT Pro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/>
      <a:tcStyle>
        <a:tcBdr/>
      </a:tcStyle>
    </a:band2H>
    <a:band1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/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F554B4B-D2CB-492E-B5EA-4A923E5CDC8F}" styleName="Table_2">
    <a:wholeTbl>
      <a:tcTxStyle b="off" i="off">
        <a:font>
          <a:latin typeface="Avenir Next LT Pro"/>
          <a:ea typeface="Avenir Next LT Pro"/>
          <a:cs typeface="Avenir Next LT Pro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chemeClr val="accent6"/>
          </a:solidFill>
        </a:fill>
      </a:tcStyle>
    </a:wholeTbl>
    <a:band1H>
      <a:tcTxStyle/>
      <a:tcStyle>
        <a:tcBdr/>
        <a:fill>
          <a:solidFill>
            <a:schemeClr val="accent6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6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6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venir Next LT Pro"/>
          <a:ea typeface="Avenir Next LT Pro"/>
          <a:cs typeface="Avenir Next LT Pro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6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58"/>
  </p:normalViewPr>
  <p:slideViewPr>
    <p:cSldViewPr snapToGrid="0">
      <p:cViewPr varScale="1">
        <p:scale>
          <a:sx n="116" d="100"/>
          <a:sy n="116" d="100"/>
        </p:scale>
        <p:origin x="86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3" Type="http://schemas.openxmlformats.org/officeDocument/2006/relationships/customXml" Target="../customXml/item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32" Type="http://customschemas.google.com/relationships/presentationmetadata" Target="metadata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3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4" Type="http://schemas.openxmlformats.org/officeDocument/2006/relationships/image" Target="../media/image3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1.xml"/><Relationship Id="rId4" Type="http://schemas.openxmlformats.org/officeDocument/2006/relationships/image" Target="../media/image3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2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3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4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5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6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7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8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9.xml"/><Relationship Id="rId4" Type="http://schemas.openxmlformats.org/officeDocument/2006/relationships/image" Target="../media/image3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0.xml"/><Relationship Id="rId4" Type="http://schemas.openxmlformats.org/officeDocument/2006/relationships/image" Target="../media/image3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1.xml"/><Relationship Id="rId4" Type="http://schemas.openxmlformats.org/officeDocument/2006/relationships/image" Target="../media/image3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2.xml"/><Relationship Id="rId4" Type="http://schemas.openxmlformats.org/officeDocument/2006/relationships/image" Target="../media/image3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5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6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9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0.xml"/><Relationship Id="rId4" Type="http://schemas.openxmlformats.org/officeDocument/2006/relationships/image" Target="../media/image3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1.xml"/><Relationship Id="rId4" Type="http://schemas.openxmlformats.org/officeDocument/2006/relationships/image" Target="../media/image3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2.xml"/><Relationship Id="rId4" Type="http://schemas.openxmlformats.org/officeDocument/2006/relationships/image" Target="../media/image3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3.xml"/><Relationship Id="rId4" Type="http://schemas.openxmlformats.org/officeDocument/2006/relationships/image" Target="../media/image3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4.xml"/><Relationship Id="rId4" Type="http://schemas.openxmlformats.org/officeDocument/2006/relationships/image" Target="../media/image3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5.xml"/><Relationship Id="rId4" Type="http://schemas.openxmlformats.org/officeDocument/2006/relationships/image" Target="../media/image3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6.xml"/><Relationship Id="rId4" Type="http://schemas.openxmlformats.org/officeDocument/2006/relationships/image" Target="../media/image3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7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8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9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0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1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3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4.xml"/><Relationship Id="rId4" Type="http://schemas.openxmlformats.org/officeDocument/2006/relationships/image" Target="../media/image3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5.xml"/><Relationship Id="rId4" Type="http://schemas.openxmlformats.org/officeDocument/2006/relationships/image" Target="../media/image3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6.xml"/><Relationship Id="rId4" Type="http://schemas.openxmlformats.org/officeDocument/2006/relationships/image" Target="../media/image3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7.xml"/><Relationship Id="rId4" Type="http://schemas.openxmlformats.org/officeDocument/2006/relationships/image" Target="../media/image3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8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9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0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1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3.xml"/><Relationship Id="rId4" Type="http://schemas.openxmlformats.org/officeDocument/2006/relationships/image" Target="../media/image16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4.xml"/><Relationship Id="rId4" Type="http://schemas.openxmlformats.org/officeDocument/2006/relationships/image" Target="../media/image3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5.xml"/><Relationship Id="rId4" Type="http://schemas.openxmlformats.org/officeDocument/2006/relationships/image" Target="../media/image16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6.xml"/><Relationship Id="rId4" Type="http://schemas.openxmlformats.org/officeDocument/2006/relationships/image" Target="../media/image16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7.xml"/><Relationship Id="rId4" Type="http://schemas.openxmlformats.org/officeDocument/2006/relationships/image" Target="../media/image16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9.xml"/><Relationship Id="rId4" Type="http://schemas.openxmlformats.org/officeDocument/2006/relationships/image" Target="../media/image3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0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1.xml"/><Relationship Id="rId4" Type="http://schemas.openxmlformats.org/officeDocument/2006/relationships/image" Target="../media/image3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2.xml"/><Relationship Id="rId4" Type="http://schemas.openxmlformats.org/officeDocument/2006/relationships/image" Target="../media/image3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3.xml"/><Relationship Id="rId4" Type="http://schemas.openxmlformats.org/officeDocument/2006/relationships/image" Target="../media/image3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4.xml"/><Relationship Id="rId4" Type="http://schemas.openxmlformats.org/officeDocument/2006/relationships/image" Target="../media/image3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5.xml"/><Relationship Id="rId4" Type="http://schemas.openxmlformats.org/officeDocument/2006/relationships/image" Target="../media/image3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6.xml"/><Relationship Id="rId4" Type="http://schemas.openxmlformats.org/officeDocument/2006/relationships/image" Target="../media/image3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7.xml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8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9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0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1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2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3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4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5.xml"/><Relationship Id="rId4" Type="http://schemas.openxmlformats.org/officeDocument/2006/relationships/image" Target="../media/image3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6.xml"/><Relationship Id="rId4" Type="http://schemas.openxmlformats.org/officeDocument/2006/relationships/image" Target="../media/image3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7.xml"/><Relationship Id="rId4" Type="http://schemas.openxmlformats.org/officeDocument/2006/relationships/image" Target="../media/image3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8.xml"/><Relationship Id="rId4" Type="http://schemas.openxmlformats.org/officeDocument/2006/relationships/image" Target="../media/image3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9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1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2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5.xml"/><Relationship Id="rId4" Type="http://schemas.openxmlformats.org/officeDocument/2006/relationships/image" Target="../media/image3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6.xml"/><Relationship Id="rId4" Type="http://schemas.openxmlformats.org/officeDocument/2006/relationships/image" Target="../media/image3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7.xml"/><Relationship Id="rId4" Type="http://schemas.openxmlformats.org/officeDocument/2006/relationships/image" Target="../media/image3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8.xml"/><Relationship Id="rId4" Type="http://schemas.openxmlformats.org/officeDocument/2006/relationships/image" Target="../media/image3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9.xml"/><Relationship Id="rId4" Type="http://schemas.openxmlformats.org/officeDocument/2006/relationships/image" Target="../media/image3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0.xml"/><Relationship Id="rId4" Type="http://schemas.openxmlformats.org/officeDocument/2006/relationships/image" Target="../media/image3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2.xml"/><Relationship Id="rId4" Type="http://schemas.openxmlformats.org/officeDocument/2006/relationships/image" Target="../media/image3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3.xml"/><Relationship Id="rId4" Type="http://schemas.openxmlformats.org/officeDocument/2006/relationships/image" Target="../media/image3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4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5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6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7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8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9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0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2.xml"/><Relationship Id="rId4" Type="http://schemas.openxmlformats.org/officeDocument/2006/relationships/image" Target="../media/image3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3.xml"/><Relationship Id="rId4" Type="http://schemas.openxmlformats.org/officeDocument/2006/relationships/image" Target="../media/image3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4.xml"/><Relationship Id="rId4" Type="http://schemas.openxmlformats.org/officeDocument/2006/relationships/image" Target="../media/image3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7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8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9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0.xml"/><Relationship Id="rId5" Type="http://schemas.openxmlformats.org/officeDocument/2006/relationships/image" Target="../media/image11.jpeg"/><Relationship Id="rId4" Type="http://schemas.openxmlformats.org/officeDocument/2006/relationships/image" Target="../media/image15.emf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2.xml"/><Relationship Id="rId4" Type="http://schemas.openxmlformats.org/officeDocument/2006/relationships/image" Target="../media/image3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3.xml"/><Relationship Id="rId4" Type="http://schemas.openxmlformats.org/officeDocument/2006/relationships/image" Target="../media/image3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4.xml"/><Relationship Id="rId4" Type="http://schemas.openxmlformats.org/officeDocument/2006/relationships/image" Target="../media/image3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5.xml"/><Relationship Id="rId4" Type="http://schemas.openxmlformats.org/officeDocument/2006/relationships/image" Target="../media/image3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6.xml"/><Relationship Id="rId4" Type="http://schemas.openxmlformats.org/officeDocument/2006/relationships/image" Target="../media/image3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7.xml"/><Relationship Id="rId4" Type="http://schemas.openxmlformats.org/officeDocument/2006/relationships/image" Target="../media/image3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8.xml"/><Relationship Id="rId4" Type="http://schemas.openxmlformats.org/officeDocument/2006/relationships/image" Target="../media/image3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9.xml"/><Relationship Id="rId4" Type="http://schemas.openxmlformats.org/officeDocument/2006/relationships/image" Target="../media/image3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0.xml"/><Relationship Id="rId4" Type="http://schemas.openxmlformats.org/officeDocument/2006/relationships/image" Target="../media/image3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2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3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4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5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6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7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8.xml"/><Relationship Id="rId4" Type="http://schemas.openxmlformats.org/officeDocument/2006/relationships/image" Target="../media/image3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9.xml"/><Relationship Id="rId4" Type="http://schemas.openxmlformats.org/officeDocument/2006/relationships/image" Target="../media/image3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0.xml"/><Relationship Id="rId4" Type="http://schemas.openxmlformats.org/officeDocument/2006/relationships/image" Target="../media/image3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1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4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5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7.xml"/><Relationship Id="rId5" Type="http://schemas.openxmlformats.org/officeDocument/2006/relationships/image" Target="../media/image17.png"/><Relationship Id="rId4" Type="http://schemas.openxmlformats.org/officeDocument/2006/relationships/image" Target="../media/image1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5" Type="http://schemas.openxmlformats.org/officeDocument/2006/relationships/image" Target="../media/image13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5" Type="http://schemas.openxmlformats.org/officeDocument/2006/relationships/image" Target="../media/image13.png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4" Type="http://schemas.openxmlformats.org/officeDocument/2006/relationships/image" Target="../media/image3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4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4" Type="http://schemas.openxmlformats.org/officeDocument/2006/relationships/image" Target="../media/image3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3.xml"/><Relationship Id="rId4" Type="http://schemas.openxmlformats.org/officeDocument/2006/relationships/image" Target="../media/image3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4.xml"/><Relationship Id="rId4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5.xml"/><Relationship Id="rId4" Type="http://schemas.openxmlformats.org/officeDocument/2006/relationships/image" Target="../media/image3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6.xml"/><Relationship Id="rId4" Type="http://schemas.openxmlformats.org/officeDocument/2006/relationships/image" Target="../media/image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7.xml"/><Relationship Id="rId4" Type="http://schemas.openxmlformats.org/officeDocument/2006/relationships/image" Target="../media/image3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7059798-D2E2-9246-8248-8D1C59E2F5FE}"/>
              </a:ext>
            </a:extLst>
          </p:cNvPr>
          <p:cNvCxnSpPr>
            <a:cxnSpLocks/>
          </p:cNvCxnSpPr>
          <p:nvPr userDrawn="1"/>
        </p:nvCxnSpPr>
        <p:spPr>
          <a:xfrm>
            <a:off x="0" y="875340"/>
            <a:ext cx="12192000" cy="0"/>
          </a:xfrm>
          <a:prstGeom prst="line">
            <a:avLst/>
          </a:prstGeom>
          <a:ln w="19050">
            <a:solidFill>
              <a:srgbClr val="0C4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CD41946E-91A1-F940-BCCF-1AF9497AA5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092700"/>
            <a:ext cx="12192000" cy="17653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FEE73B7-0C75-CC4A-8F64-D1230AE96397}"/>
              </a:ext>
            </a:extLst>
          </p:cNvPr>
          <p:cNvSpPr txBox="1">
            <a:spLocks/>
          </p:cNvSpPr>
          <p:nvPr userDrawn="1"/>
        </p:nvSpPr>
        <p:spPr>
          <a:xfrm>
            <a:off x="9325389" y="6421437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1F0E71-5B55-0748-8AD9-7F0F742E1E0D}" type="slidenum">
              <a:rPr kumimoji="0" lang="en-US" sz="108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8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502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409133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614426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67516629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8258611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1776687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670997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1672977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7296529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5493801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493734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8769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48318807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286127452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87819668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697901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21757922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133209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9025289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89872260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83240910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 userDrawn="1"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 userDrawn="1"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1654268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26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5077284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83918162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15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189363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681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99296232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3811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01747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23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441628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731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662298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9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69570121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80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5014694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0192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2183921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59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6558561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4186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5608967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136738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55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2048439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927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376680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562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0607628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44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5273099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744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0"/>
                <a:ea typeface="Verdana" panose="020B0604030504040204" pitchFamily="34" charset="0"/>
                <a:cs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278296869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274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61289965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209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51466847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57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5466955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2949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2525280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036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260630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2699896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972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8178906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26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017687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976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 userDrawn="1"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 userDrawn="1"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43945432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6CCDF6-5A91-8726-3AC3-3D33D09AB8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757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6CCDF6-5A91-8726-3AC3-3D33D09AB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2" name="Google Shape;702;p70"/>
          <p:cNvSpPr txBox="1">
            <a:spLocks noGrp="1"/>
          </p:cNvSpPr>
          <p:nvPr>
            <p:ph type="title"/>
          </p:nvPr>
        </p:nvSpPr>
        <p:spPr>
          <a:xfrm>
            <a:off x="611188" y="636625"/>
            <a:ext cx="10971212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70"/>
          <p:cNvSpPr txBox="1">
            <a:spLocks noGrp="1"/>
          </p:cNvSpPr>
          <p:nvPr>
            <p:ph type="sldNum" idx="12"/>
          </p:nvPr>
        </p:nvSpPr>
        <p:spPr>
          <a:xfrm>
            <a:off x="11459887" y="6335157"/>
            <a:ext cx="31242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04" name="Google Shape;704;p70"/>
          <p:cNvSpPr txBox="1">
            <a:spLocks noGrp="1"/>
          </p:cNvSpPr>
          <p:nvPr>
            <p:ph type="ftr" idx="11"/>
          </p:nvPr>
        </p:nvSpPr>
        <p:spPr>
          <a:xfrm>
            <a:off x="5673091" y="6335157"/>
            <a:ext cx="568071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7097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33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677454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FF90AFD2-F958-16E1-A44B-FB1AB3EE28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9194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FF90AFD2-F958-16E1-A44B-FB1AB3EE28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195913-F8E3-43A9-AE74-A6B026F85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5F4C20-C4DD-4B5E-9030-EC7A021D7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4632802E-9DD6-405B-AB3F-9D3B33465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BF2569F-2760-4859-8FE6-BD8F47E196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73091" y="6335157"/>
            <a:ext cx="568071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BI PE Overview 2022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DFAE91C-B905-4BA9-BCDF-05803E63E451}"/>
              </a:ext>
            </a:extLst>
          </p:cNvPr>
          <p:cNvCxnSpPr>
            <a:cxnSpLocks/>
          </p:cNvCxnSpPr>
          <p:nvPr userDrawn="1"/>
        </p:nvCxnSpPr>
        <p:spPr>
          <a:xfrm>
            <a:off x="450273" y="-1905"/>
            <a:ext cx="0" cy="925829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62BB8F3E-D6FE-48D6-B7D6-5BB69737078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637193" y="6137611"/>
            <a:ext cx="831561" cy="351496"/>
            <a:chOff x="479425" y="5372100"/>
            <a:chExt cx="1273175" cy="538163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3DAAF683-03D8-4C84-B012-41222D0857E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04838" y="5380038"/>
              <a:ext cx="234950" cy="236538"/>
            </a:xfrm>
            <a:custGeom>
              <a:avLst/>
              <a:gdLst>
                <a:gd name="T0" fmla="*/ 164 w 863"/>
                <a:gd name="T1" fmla="*/ 0 h 866"/>
                <a:gd name="T2" fmla="*/ 328 w 863"/>
                <a:gd name="T3" fmla="*/ 164 h 866"/>
                <a:gd name="T4" fmla="*/ 164 w 863"/>
                <a:gd name="T5" fmla="*/ 328 h 866"/>
                <a:gd name="T6" fmla="*/ 0 w 863"/>
                <a:gd name="T7" fmla="*/ 164 h 866"/>
                <a:gd name="T8" fmla="*/ 164 w 863"/>
                <a:gd name="T9" fmla="*/ 0 h 866"/>
                <a:gd name="T10" fmla="*/ 536 w 863"/>
                <a:gd name="T11" fmla="*/ 702 h 866"/>
                <a:gd name="T12" fmla="*/ 699 w 863"/>
                <a:gd name="T13" fmla="*/ 866 h 866"/>
                <a:gd name="T14" fmla="*/ 863 w 863"/>
                <a:gd name="T15" fmla="*/ 702 h 866"/>
                <a:gd name="T16" fmla="*/ 699 w 863"/>
                <a:gd name="T17" fmla="*/ 538 h 866"/>
                <a:gd name="T18" fmla="*/ 536 w 863"/>
                <a:gd name="T19" fmla="*/ 702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3" h="866">
                  <a:moveTo>
                    <a:pt x="164" y="0"/>
                  </a:moveTo>
                  <a:cubicBezTo>
                    <a:pt x="255" y="0"/>
                    <a:pt x="328" y="73"/>
                    <a:pt x="328" y="164"/>
                  </a:cubicBezTo>
                  <a:cubicBezTo>
                    <a:pt x="328" y="254"/>
                    <a:pt x="255" y="328"/>
                    <a:pt x="164" y="328"/>
                  </a:cubicBezTo>
                  <a:cubicBezTo>
                    <a:pt x="74" y="328"/>
                    <a:pt x="0" y="254"/>
                    <a:pt x="0" y="164"/>
                  </a:cubicBezTo>
                  <a:cubicBezTo>
                    <a:pt x="0" y="73"/>
                    <a:pt x="74" y="0"/>
                    <a:pt x="164" y="0"/>
                  </a:cubicBezTo>
                  <a:close/>
                  <a:moveTo>
                    <a:pt x="536" y="702"/>
                  </a:moveTo>
                  <a:cubicBezTo>
                    <a:pt x="536" y="793"/>
                    <a:pt x="609" y="866"/>
                    <a:pt x="699" y="866"/>
                  </a:cubicBezTo>
                  <a:cubicBezTo>
                    <a:pt x="790" y="866"/>
                    <a:pt x="863" y="793"/>
                    <a:pt x="863" y="702"/>
                  </a:cubicBezTo>
                  <a:cubicBezTo>
                    <a:pt x="863" y="612"/>
                    <a:pt x="790" y="538"/>
                    <a:pt x="699" y="538"/>
                  </a:cubicBezTo>
                  <a:cubicBezTo>
                    <a:pt x="609" y="538"/>
                    <a:pt x="536" y="612"/>
                    <a:pt x="536" y="702"/>
                  </a:cubicBezTo>
                  <a:close/>
                </a:path>
              </a:pathLst>
            </a:cu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C6A1DB0-B7C3-44FB-962E-08900A28D82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479425" y="5386388"/>
              <a:ext cx="354013" cy="355600"/>
            </a:xfrm>
            <a:custGeom>
              <a:avLst/>
              <a:gdLst>
                <a:gd name="T0" fmla="*/ 1157 w 1297"/>
                <a:gd name="T1" fmla="*/ 1020 h 1299"/>
                <a:gd name="T2" fmla="*/ 1297 w 1297"/>
                <a:gd name="T3" fmla="*/ 1159 h 1299"/>
                <a:gd name="T4" fmla="*/ 1157 w 1297"/>
                <a:gd name="T5" fmla="*/ 1299 h 1299"/>
                <a:gd name="T6" fmla="*/ 1018 w 1297"/>
                <a:gd name="T7" fmla="*/ 1159 h 1299"/>
                <a:gd name="T8" fmla="*/ 1157 w 1297"/>
                <a:gd name="T9" fmla="*/ 1020 h 1299"/>
                <a:gd name="T10" fmla="*/ 483 w 1297"/>
                <a:gd name="T11" fmla="*/ 676 h 1299"/>
                <a:gd name="T12" fmla="*/ 622 w 1297"/>
                <a:gd name="T13" fmla="*/ 816 h 1299"/>
                <a:gd name="T14" fmla="*/ 762 w 1297"/>
                <a:gd name="T15" fmla="*/ 676 h 1299"/>
                <a:gd name="T16" fmla="*/ 622 w 1297"/>
                <a:gd name="T17" fmla="*/ 537 h 1299"/>
                <a:gd name="T18" fmla="*/ 483 w 1297"/>
                <a:gd name="T19" fmla="*/ 676 h 1299"/>
                <a:gd name="T20" fmla="*/ 0 w 1297"/>
                <a:gd name="T21" fmla="*/ 139 h 1299"/>
                <a:gd name="T22" fmla="*/ 139 w 1297"/>
                <a:gd name="T23" fmla="*/ 279 h 1299"/>
                <a:gd name="T24" fmla="*/ 279 w 1297"/>
                <a:gd name="T25" fmla="*/ 139 h 1299"/>
                <a:gd name="T26" fmla="*/ 139 w 1297"/>
                <a:gd name="T27" fmla="*/ 0 h 1299"/>
                <a:gd name="T28" fmla="*/ 0 w 1297"/>
                <a:gd name="T29" fmla="*/ 139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7" h="1299">
                  <a:moveTo>
                    <a:pt x="1157" y="1020"/>
                  </a:moveTo>
                  <a:cubicBezTo>
                    <a:pt x="1234" y="1020"/>
                    <a:pt x="1297" y="1082"/>
                    <a:pt x="1297" y="1159"/>
                  </a:cubicBezTo>
                  <a:cubicBezTo>
                    <a:pt x="1297" y="1236"/>
                    <a:pt x="1234" y="1299"/>
                    <a:pt x="1157" y="1299"/>
                  </a:cubicBezTo>
                  <a:cubicBezTo>
                    <a:pt x="1080" y="1299"/>
                    <a:pt x="1018" y="1236"/>
                    <a:pt x="1018" y="1159"/>
                  </a:cubicBezTo>
                  <a:cubicBezTo>
                    <a:pt x="1018" y="1082"/>
                    <a:pt x="1080" y="1020"/>
                    <a:pt x="1157" y="1020"/>
                  </a:cubicBezTo>
                  <a:close/>
                  <a:moveTo>
                    <a:pt x="483" y="676"/>
                  </a:moveTo>
                  <a:cubicBezTo>
                    <a:pt x="483" y="753"/>
                    <a:pt x="545" y="816"/>
                    <a:pt x="622" y="816"/>
                  </a:cubicBezTo>
                  <a:cubicBezTo>
                    <a:pt x="699" y="816"/>
                    <a:pt x="762" y="753"/>
                    <a:pt x="762" y="676"/>
                  </a:cubicBezTo>
                  <a:cubicBezTo>
                    <a:pt x="762" y="599"/>
                    <a:pt x="699" y="537"/>
                    <a:pt x="622" y="537"/>
                  </a:cubicBezTo>
                  <a:cubicBezTo>
                    <a:pt x="545" y="537"/>
                    <a:pt x="483" y="599"/>
                    <a:pt x="483" y="676"/>
                  </a:cubicBezTo>
                  <a:close/>
                  <a:moveTo>
                    <a:pt x="0" y="139"/>
                  </a:moveTo>
                  <a:cubicBezTo>
                    <a:pt x="0" y="216"/>
                    <a:pt x="62" y="279"/>
                    <a:pt x="139" y="279"/>
                  </a:cubicBezTo>
                  <a:cubicBezTo>
                    <a:pt x="216" y="279"/>
                    <a:pt x="279" y="216"/>
                    <a:pt x="279" y="139"/>
                  </a:cubicBezTo>
                  <a:cubicBezTo>
                    <a:pt x="279" y="62"/>
                    <a:pt x="216" y="0"/>
                    <a:pt x="139" y="0"/>
                  </a:cubicBezTo>
                  <a:cubicBezTo>
                    <a:pt x="62" y="0"/>
                    <a:pt x="0" y="62"/>
                    <a:pt x="0" y="139"/>
                  </a:cubicBezTo>
                  <a:close/>
                </a:path>
              </a:pathLst>
            </a:cu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8DE59B90-4D79-4016-AF18-22144D28F39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2950" y="5372100"/>
              <a:ext cx="1009650" cy="538163"/>
            </a:xfrm>
            <a:custGeom>
              <a:avLst/>
              <a:gdLst>
                <a:gd name="T0" fmla="*/ 897 w 3695"/>
                <a:gd name="T1" fmla="*/ 1535 h 1973"/>
                <a:gd name="T2" fmla="*/ 1329 w 3695"/>
                <a:gd name="T3" fmla="*/ 1718 h 1973"/>
                <a:gd name="T4" fmla="*/ 1567 w 3695"/>
                <a:gd name="T5" fmla="*/ 1565 h 1973"/>
                <a:gd name="T6" fmla="*/ 1291 w 3695"/>
                <a:gd name="T7" fmla="*/ 1392 h 1973"/>
                <a:gd name="T8" fmla="*/ 784 w 3695"/>
                <a:gd name="T9" fmla="*/ 978 h 1973"/>
                <a:gd name="T10" fmla="*/ 1300 w 3695"/>
                <a:gd name="T11" fmla="*/ 568 h 1973"/>
                <a:gd name="T12" fmla="*/ 1830 w 3695"/>
                <a:gd name="T13" fmla="*/ 758 h 1973"/>
                <a:gd name="T14" fmla="*/ 1669 w 3695"/>
                <a:gd name="T15" fmla="*/ 971 h 1973"/>
                <a:gd name="T16" fmla="*/ 1281 w 3695"/>
                <a:gd name="T17" fmla="*/ 822 h 1973"/>
                <a:gd name="T18" fmla="*/ 1080 w 3695"/>
                <a:gd name="T19" fmla="*/ 960 h 1973"/>
                <a:gd name="T20" fmla="*/ 1350 w 3695"/>
                <a:gd name="T21" fmla="*/ 1117 h 1973"/>
                <a:gd name="T22" fmla="*/ 1859 w 3695"/>
                <a:gd name="T23" fmla="*/ 1537 h 1973"/>
                <a:gd name="T24" fmla="*/ 1316 w 3695"/>
                <a:gd name="T25" fmla="*/ 1973 h 1973"/>
                <a:gd name="T26" fmla="*/ 739 w 3695"/>
                <a:gd name="T27" fmla="*/ 1757 h 1973"/>
                <a:gd name="T28" fmla="*/ 897 w 3695"/>
                <a:gd name="T29" fmla="*/ 1535 h 1973"/>
                <a:gd name="T30" fmla="*/ 3187 w 3695"/>
                <a:gd name="T31" fmla="*/ 1581 h 1973"/>
                <a:gd name="T32" fmla="*/ 2792 w 3695"/>
                <a:gd name="T33" fmla="*/ 1947 h 1973"/>
                <a:gd name="T34" fmla="*/ 2055 w 3695"/>
                <a:gd name="T35" fmla="*/ 1947 h 1973"/>
                <a:gd name="T36" fmla="*/ 2055 w 3695"/>
                <a:gd name="T37" fmla="*/ 587 h 1973"/>
                <a:gd name="T38" fmla="*/ 2769 w 3695"/>
                <a:gd name="T39" fmla="*/ 587 h 1973"/>
                <a:gd name="T40" fmla="*/ 3160 w 3695"/>
                <a:gd name="T41" fmla="*/ 934 h 1973"/>
                <a:gd name="T42" fmla="*/ 2926 w 3695"/>
                <a:gd name="T43" fmla="*/ 1246 h 1973"/>
                <a:gd name="T44" fmla="*/ 3187 w 3695"/>
                <a:gd name="T45" fmla="*/ 1581 h 1973"/>
                <a:gd name="T46" fmla="*/ 2344 w 3695"/>
                <a:gd name="T47" fmla="*/ 1133 h 1973"/>
                <a:gd name="T48" fmla="*/ 2706 w 3695"/>
                <a:gd name="T49" fmla="*/ 1133 h 1973"/>
                <a:gd name="T50" fmla="*/ 2865 w 3695"/>
                <a:gd name="T51" fmla="*/ 981 h 1973"/>
                <a:gd name="T52" fmla="*/ 2706 w 3695"/>
                <a:gd name="T53" fmla="*/ 833 h 1973"/>
                <a:gd name="T54" fmla="*/ 2344 w 3695"/>
                <a:gd name="T55" fmla="*/ 833 h 1973"/>
                <a:gd name="T56" fmla="*/ 2344 w 3695"/>
                <a:gd name="T57" fmla="*/ 1133 h 1973"/>
                <a:gd name="T58" fmla="*/ 2893 w 3695"/>
                <a:gd name="T59" fmla="*/ 1539 h 1973"/>
                <a:gd name="T60" fmla="*/ 2717 w 3695"/>
                <a:gd name="T61" fmla="*/ 1380 h 1973"/>
                <a:gd name="T62" fmla="*/ 2344 w 3695"/>
                <a:gd name="T63" fmla="*/ 1380 h 1973"/>
                <a:gd name="T64" fmla="*/ 2344 w 3695"/>
                <a:gd name="T65" fmla="*/ 1701 h 1973"/>
                <a:gd name="T66" fmla="*/ 2717 w 3695"/>
                <a:gd name="T67" fmla="*/ 1701 h 1973"/>
                <a:gd name="T68" fmla="*/ 2717 w 3695"/>
                <a:gd name="T69" fmla="*/ 1699 h 1973"/>
                <a:gd name="T70" fmla="*/ 2893 w 3695"/>
                <a:gd name="T71" fmla="*/ 1539 h 1973"/>
                <a:gd name="T72" fmla="*/ 3405 w 3695"/>
                <a:gd name="T73" fmla="*/ 1947 h 1973"/>
                <a:gd name="T74" fmla="*/ 3695 w 3695"/>
                <a:gd name="T75" fmla="*/ 1947 h 1973"/>
                <a:gd name="T76" fmla="*/ 3695 w 3695"/>
                <a:gd name="T77" fmla="*/ 587 h 1973"/>
                <a:gd name="T78" fmla="*/ 3405 w 3695"/>
                <a:gd name="T79" fmla="*/ 587 h 1973"/>
                <a:gd name="T80" fmla="*/ 3405 w 3695"/>
                <a:gd name="T81" fmla="*/ 1947 h 1973"/>
                <a:gd name="T82" fmla="*/ 0 w 3695"/>
                <a:gd name="T83" fmla="*/ 194 h 1973"/>
                <a:gd name="T84" fmla="*/ 193 w 3695"/>
                <a:gd name="T85" fmla="*/ 387 h 1973"/>
                <a:gd name="T86" fmla="*/ 387 w 3695"/>
                <a:gd name="T87" fmla="*/ 194 h 1973"/>
                <a:gd name="T88" fmla="*/ 193 w 3695"/>
                <a:gd name="T89" fmla="*/ 0 h 1973"/>
                <a:gd name="T90" fmla="*/ 0 w 3695"/>
                <a:gd name="T91" fmla="*/ 194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95" h="1973">
                  <a:moveTo>
                    <a:pt x="897" y="1535"/>
                  </a:moveTo>
                  <a:cubicBezTo>
                    <a:pt x="993" y="1635"/>
                    <a:pt x="1141" y="1718"/>
                    <a:pt x="1329" y="1718"/>
                  </a:cubicBezTo>
                  <a:cubicBezTo>
                    <a:pt x="1488" y="1718"/>
                    <a:pt x="1567" y="1643"/>
                    <a:pt x="1567" y="1565"/>
                  </a:cubicBezTo>
                  <a:cubicBezTo>
                    <a:pt x="1567" y="1464"/>
                    <a:pt x="1448" y="1429"/>
                    <a:pt x="1291" y="1392"/>
                  </a:cubicBezTo>
                  <a:cubicBezTo>
                    <a:pt x="1070" y="1342"/>
                    <a:pt x="784" y="1281"/>
                    <a:pt x="784" y="978"/>
                  </a:cubicBezTo>
                  <a:cubicBezTo>
                    <a:pt x="784" y="751"/>
                    <a:pt x="979" y="568"/>
                    <a:pt x="1300" y="568"/>
                  </a:cubicBezTo>
                  <a:cubicBezTo>
                    <a:pt x="1516" y="568"/>
                    <a:pt x="1695" y="633"/>
                    <a:pt x="1830" y="758"/>
                  </a:cubicBezTo>
                  <a:cubicBezTo>
                    <a:pt x="1669" y="971"/>
                    <a:pt x="1669" y="971"/>
                    <a:pt x="1669" y="971"/>
                  </a:cubicBezTo>
                  <a:cubicBezTo>
                    <a:pt x="1560" y="870"/>
                    <a:pt x="1413" y="822"/>
                    <a:pt x="1281" y="822"/>
                  </a:cubicBezTo>
                  <a:cubicBezTo>
                    <a:pt x="1150" y="822"/>
                    <a:pt x="1080" y="880"/>
                    <a:pt x="1080" y="960"/>
                  </a:cubicBezTo>
                  <a:cubicBezTo>
                    <a:pt x="1080" y="1053"/>
                    <a:pt x="1194" y="1080"/>
                    <a:pt x="1350" y="1117"/>
                  </a:cubicBezTo>
                  <a:cubicBezTo>
                    <a:pt x="1575" y="1168"/>
                    <a:pt x="1859" y="1236"/>
                    <a:pt x="1859" y="1537"/>
                  </a:cubicBezTo>
                  <a:cubicBezTo>
                    <a:pt x="1859" y="1786"/>
                    <a:pt x="1682" y="1973"/>
                    <a:pt x="1316" y="1973"/>
                  </a:cubicBezTo>
                  <a:cubicBezTo>
                    <a:pt x="1054" y="1973"/>
                    <a:pt x="868" y="1886"/>
                    <a:pt x="739" y="1757"/>
                  </a:cubicBezTo>
                  <a:lnTo>
                    <a:pt x="897" y="1535"/>
                  </a:lnTo>
                  <a:close/>
                  <a:moveTo>
                    <a:pt x="3187" y="1581"/>
                  </a:moveTo>
                  <a:cubicBezTo>
                    <a:pt x="3187" y="1785"/>
                    <a:pt x="3051" y="1947"/>
                    <a:pt x="2792" y="1947"/>
                  </a:cubicBezTo>
                  <a:cubicBezTo>
                    <a:pt x="2055" y="1947"/>
                    <a:pt x="2055" y="1947"/>
                    <a:pt x="2055" y="1947"/>
                  </a:cubicBezTo>
                  <a:cubicBezTo>
                    <a:pt x="2055" y="587"/>
                    <a:pt x="2055" y="587"/>
                    <a:pt x="2055" y="587"/>
                  </a:cubicBezTo>
                  <a:cubicBezTo>
                    <a:pt x="2769" y="587"/>
                    <a:pt x="2769" y="587"/>
                    <a:pt x="2769" y="587"/>
                  </a:cubicBezTo>
                  <a:cubicBezTo>
                    <a:pt x="3027" y="587"/>
                    <a:pt x="3160" y="753"/>
                    <a:pt x="3160" y="934"/>
                  </a:cubicBezTo>
                  <a:cubicBezTo>
                    <a:pt x="3160" y="1105"/>
                    <a:pt x="3053" y="1220"/>
                    <a:pt x="2926" y="1246"/>
                  </a:cubicBezTo>
                  <a:cubicBezTo>
                    <a:pt x="3071" y="1269"/>
                    <a:pt x="3187" y="1410"/>
                    <a:pt x="3187" y="1581"/>
                  </a:cubicBezTo>
                  <a:close/>
                  <a:moveTo>
                    <a:pt x="2344" y="1133"/>
                  </a:moveTo>
                  <a:cubicBezTo>
                    <a:pt x="2706" y="1133"/>
                    <a:pt x="2706" y="1133"/>
                    <a:pt x="2706" y="1133"/>
                  </a:cubicBezTo>
                  <a:cubicBezTo>
                    <a:pt x="2804" y="1133"/>
                    <a:pt x="2865" y="1070"/>
                    <a:pt x="2865" y="981"/>
                  </a:cubicBezTo>
                  <a:cubicBezTo>
                    <a:pt x="2865" y="897"/>
                    <a:pt x="2804" y="833"/>
                    <a:pt x="2706" y="833"/>
                  </a:cubicBezTo>
                  <a:cubicBezTo>
                    <a:pt x="2344" y="833"/>
                    <a:pt x="2344" y="833"/>
                    <a:pt x="2344" y="833"/>
                  </a:cubicBezTo>
                  <a:lnTo>
                    <a:pt x="2344" y="1133"/>
                  </a:lnTo>
                  <a:close/>
                  <a:moveTo>
                    <a:pt x="2893" y="1539"/>
                  </a:moveTo>
                  <a:cubicBezTo>
                    <a:pt x="2893" y="1453"/>
                    <a:pt x="2832" y="1380"/>
                    <a:pt x="2717" y="1380"/>
                  </a:cubicBezTo>
                  <a:cubicBezTo>
                    <a:pt x="2344" y="1380"/>
                    <a:pt x="2344" y="1380"/>
                    <a:pt x="2344" y="1380"/>
                  </a:cubicBezTo>
                  <a:cubicBezTo>
                    <a:pt x="2344" y="1701"/>
                    <a:pt x="2344" y="1701"/>
                    <a:pt x="2344" y="1701"/>
                  </a:cubicBezTo>
                  <a:cubicBezTo>
                    <a:pt x="2717" y="1701"/>
                    <a:pt x="2717" y="1701"/>
                    <a:pt x="2717" y="1701"/>
                  </a:cubicBezTo>
                  <a:cubicBezTo>
                    <a:pt x="2717" y="1699"/>
                    <a:pt x="2717" y="1699"/>
                    <a:pt x="2717" y="1699"/>
                  </a:cubicBezTo>
                  <a:cubicBezTo>
                    <a:pt x="2827" y="1699"/>
                    <a:pt x="2893" y="1636"/>
                    <a:pt x="2893" y="1539"/>
                  </a:cubicBezTo>
                  <a:close/>
                  <a:moveTo>
                    <a:pt x="3405" y="1947"/>
                  </a:moveTo>
                  <a:cubicBezTo>
                    <a:pt x="3695" y="1947"/>
                    <a:pt x="3695" y="1947"/>
                    <a:pt x="3695" y="1947"/>
                  </a:cubicBezTo>
                  <a:cubicBezTo>
                    <a:pt x="3695" y="587"/>
                    <a:pt x="3695" y="587"/>
                    <a:pt x="3695" y="587"/>
                  </a:cubicBezTo>
                  <a:cubicBezTo>
                    <a:pt x="3405" y="587"/>
                    <a:pt x="3405" y="587"/>
                    <a:pt x="3405" y="587"/>
                  </a:cubicBezTo>
                  <a:lnTo>
                    <a:pt x="3405" y="1947"/>
                  </a:lnTo>
                  <a:close/>
                  <a:moveTo>
                    <a:pt x="0" y="194"/>
                  </a:moveTo>
                  <a:cubicBezTo>
                    <a:pt x="0" y="301"/>
                    <a:pt x="86" y="387"/>
                    <a:pt x="193" y="387"/>
                  </a:cubicBezTo>
                  <a:cubicBezTo>
                    <a:pt x="300" y="387"/>
                    <a:pt x="387" y="301"/>
                    <a:pt x="387" y="194"/>
                  </a:cubicBezTo>
                  <a:cubicBezTo>
                    <a:pt x="387" y="87"/>
                    <a:pt x="300" y="0"/>
                    <a:pt x="193" y="0"/>
                  </a:cubicBezTo>
                  <a:cubicBezTo>
                    <a:pt x="86" y="0"/>
                    <a:pt x="0" y="87"/>
                    <a:pt x="0" y="1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D3F2330-79A4-7070-FF99-BE13EE54F5A7}"/>
              </a:ext>
            </a:extLst>
          </p:cNvPr>
          <p:cNvSpPr txBox="1"/>
          <p:nvPr userDrawn="1"/>
        </p:nvSpPr>
        <p:spPr>
          <a:xfrm>
            <a:off x="450273" y="-41398"/>
            <a:ext cx="34065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>
                <a:solidFill>
                  <a:srgbClr val="FF000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Highl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21864354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 no bkgd">
  <p:cSld name="1_Title Only no bkgd">
    <p:spTree>
      <p:nvGrpSpPr>
        <p:cNvPr id="1" name="Shape 3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5A16DD-0B02-3C74-32A5-A293D0B30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74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5A16DD-0B02-3C74-32A5-A293D0B30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64" name="Google Shape;3064;g1170bcf73d0_0_719"/>
          <p:cNvSpPr txBox="1">
            <a:spLocks noGrp="1"/>
          </p:cNvSpPr>
          <p:nvPr>
            <p:ph type="title"/>
          </p:nvPr>
        </p:nvSpPr>
        <p:spPr>
          <a:xfrm>
            <a:off x="611188" y="636625"/>
            <a:ext cx="109713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5" name="Google Shape;3065;g1170bcf73d0_0_719"/>
          <p:cNvSpPr txBox="1">
            <a:spLocks noGrp="1"/>
          </p:cNvSpPr>
          <p:nvPr>
            <p:ph type="sldNum" idx="12"/>
          </p:nvPr>
        </p:nvSpPr>
        <p:spPr>
          <a:xfrm>
            <a:off x="11459887" y="6335157"/>
            <a:ext cx="3123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rial"/>
                <a:sym typeface="Avenir Next LT Pro" panose="020B0504020202020204" pitchFamily="34" charset="0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66" name="Google Shape;3066;g1170bcf73d0_0_719"/>
          <p:cNvSpPr txBox="1">
            <a:spLocks noGrp="1"/>
          </p:cNvSpPr>
          <p:nvPr>
            <p:ph type="ftr" idx="11"/>
          </p:nvPr>
        </p:nvSpPr>
        <p:spPr>
          <a:xfrm>
            <a:off x="5673091" y="6335157"/>
            <a:ext cx="56808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Presentation Title [Insert tab &gt; Header &amp; Footer]</a:t>
            </a:r>
          </a:p>
        </p:txBody>
      </p:sp>
      <p:cxnSp>
        <p:nvCxnSpPr>
          <p:cNvPr id="3067" name="Google Shape;3067;g1170bcf73d0_0_719"/>
          <p:cNvCxnSpPr/>
          <p:nvPr/>
        </p:nvCxnSpPr>
        <p:spPr>
          <a:xfrm>
            <a:off x="450273" y="-1905"/>
            <a:ext cx="0" cy="925800"/>
          </a:xfrm>
          <a:prstGeom prst="straightConnector1">
            <a:avLst/>
          </a:prstGeom>
          <a:noFill/>
          <a:ln w="635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68" name="Google Shape;3068;g1170bcf73d0_0_719"/>
          <p:cNvGrpSpPr/>
          <p:nvPr/>
        </p:nvGrpSpPr>
        <p:grpSpPr>
          <a:xfrm>
            <a:off x="637174" y="6137394"/>
            <a:ext cx="831510" cy="351476"/>
            <a:chOff x="479425" y="5372100"/>
            <a:chExt cx="1273175" cy="538165"/>
          </a:xfrm>
        </p:grpSpPr>
        <p:sp>
          <p:nvSpPr>
            <p:cNvPr id="3069" name="Google Shape;3069;g1170bcf73d0_0_719"/>
            <p:cNvSpPr/>
            <p:nvPr/>
          </p:nvSpPr>
          <p:spPr>
            <a:xfrm>
              <a:off x="604838" y="5380038"/>
              <a:ext cx="234950" cy="236537"/>
            </a:xfrm>
            <a:custGeom>
              <a:avLst/>
              <a:gdLst/>
              <a:ahLst/>
              <a:cxnLst/>
              <a:rect l="l" t="t" r="r" b="b"/>
              <a:pathLst>
                <a:path w="863" h="866" extrusionOk="0">
                  <a:moveTo>
                    <a:pt x="164" y="0"/>
                  </a:moveTo>
                  <a:cubicBezTo>
                    <a:pt x="255" y="0"/>
                    <a:pt x="328" y="73"/>
                    <a:pt x="328" y="164"/>
                  </a:cubicBezTo>
                  <a:cubicBezTo>
                    <a:pt x="328" y="254"/>
                    <a:pt x="255" y="328"/>
                    <a:pt x="164" y="328"/>
                  </a:cubicBezTo>
                  <a:cubicBezTo>
                    <a:pt x="74" y="328"/>
                    <a:pt x="0" y="254"/>
                    <a:pt x="0" y="164"/>
                  </a:cubicBezTo>
                  <a:cubicBezTo>
                    <a:pt x="0" y="73"/>
                    <a:pt x="74" y="0"/>
                    <a:pt x="164" y="0"/>
                  </a:cubicBezTo>
                  <a:close/>
                  <a:moveTo>
                    <a:pt x="536" y="702"/>
                  </a:moveTo>
                  <a:cubicBezTo>
                    <a:pt x="536" y="793"/>
                    <a:pt x="609" y="866"/>
                    <a:pt x="699" y="866"/>
                  </a:cubicBezTo>
                  <a:cubicBezTo>
                    <a:pt x="790" y="866"/>
                    <a:pt x="863" y="793"/>
                    <a:pt x="863" y="702"/>
                  </a:cubicBezTo>
                  <a:cubicBezTo>
                    <a:pt x="863" y="612"/>
                    <a:pt x="790" y="538"/>
                    <a:pt x="699" y="538"/>
                  </a:cubicBezTo>
                  <a:cubicBezTo>
                    <a:pt x="609" y="538"/>
                    <a:pt x="536" y="612"/>
                    <a:pt x="536" y="702"/>
                  </a:cubicBezTo>
                  <a:close/>
                </a:path>
              </a:pathLst>
            </a:cu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venir Next LT Pro" panose="020B0504020202020204" pitchFamily="34" charset="0"/>
                <a:ea typeface="Arial"/>
                <a:cs typeface="Arial"/>
                <a:sym typeface="Avenir Next LT Pro" panose="020B0504020202020204" pitchFamily="34" charset="0"/>
              </a:endParaRPr>
            </a:p>
          </p:txBody>
        </p:sp>
        <p:sp>
          <p:nvSpPr>
            <p:cNvPr id="3070" name="Google Shape;3070;g1170bcf73d0_0_719"/>
            <p:cNvSpPr/>
            <p:nvPr/>
          </p:nvSpPr>
          <p:spPr>
            <a:xfrm>
              <a:off x="479425" y="5386388"/>
              <a:ext cx="354013" cy="355601"/>
            </a:xfrm>
            <a:custGeom>
              <a:avLst/>
              <a:gdLst/>
              <a:ahLst/>
              <a:cxnLst/>
              <a:rect l="l" t="t" r="r" b="b"/>
              <a:pathLst>
                <a:path w="1297" h="1299" extrusionOk="0">
                  <a:moveTo>
                    <a:pt x="1157" y="1020"/>
                  </a:moveTo>
                  <a:cubicBezTo>
                    <a:pt x="1234" y="1020"/>
                    <a:pt x="1297" y="1082"/>
                    <a:pt x="1297" y="1159"/>
                  </a:cubicBezTo>
                  <a:cubicBezTo>
                    <a:pt x="1297" y="1236"/>
                    <a:pt x="1234" y="1299"/>
                    <a:pt x="1157" y="1299"/>
                  </a:cubicBezTo>
                  <a:cubicBezTo>
                    <a:pt x="1080" y="1299"/>
                    <a:pt x="1018" y="1236"/>
                    <a:pt x="1018" y="1159"/>
                  </a:cubicBezTo>
                  <a:cubicBezTo>
                    <a:pt x="1018" y="1082"/>
                    <a:pt x="1080" y="1020"/>
                    <a:pt x="1157" y="1020"/>
                  </a:cubicBezTo>
                  <a:close/>
                  <a:moveTo>
                    <a:pt x="483" y="676"/>
                  </a:moveTo>
                  <a:cubicBezTo>
                    <a:pt x="483" y="753"/>
                    <a:pt x="545" y="816"/>
                    <a:pt x="622" y="816"/>
                  </a:cubicBezTo>
                  <a:cubicBezTo>
                    <a:pt x="699" y="816"/>
                    <a:pt x="762" y="753"/>
                    <a:pt x="762" y="676"/>
                  </a:cubicBezTo>
                  <a:cubicBezTo>
                    <a:pt x="762" y="599"/>
                    <a:pt x="699" y="537"/>
                    <a:pt x="622" y="537"/>
                  </a:cubicBezTo>
                  <a:cubicBezTo>
                    <a:pt x="545" y="537"/>
                    <a:pt x="483" y="599"/>
                    <a:pt x="483" y="676"/>
                  </a:cubicBezTo>
                  <a:close/>
                  <a:moveTo>
                    <a:pt x="0" y="139"/>
                  </a:moveTo>
                  <a:cubicBezTo>
                    <a:pt x="0" y="216"/>
                    <a:pt x="62" y="279"/>
                    <a:pt x="139" y="279"/>
                  </a:cubicBezTo>
                  <a:cubicBezTo>
                    <a:pt x="216" y="279"/>
                    <a:pt x="279" y="216"/>
                    <a:pt x="279" y="139"/>
                  </a:cubicBezTo>
                  <a:cubicBezTo>
                    <a:pt x="279" y="62"/>
                    <a:pt x="216" y="0"/>
                    <a:pt x="139" y="0"/>
                  </a:cubicBezTo>
                  <a:cubicBezTo>
                    <a:pt x="62" y="0"/>
                    <a:pt x="0" y="62"/>
                    <a:pt x="0" y="139"/>
                  </a:cubicBezTo>
                  <a:close/>
                </a:path>
              </a:pathLst>
            </a:cu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venir Next LT Pro" panose="020B0504020202020204" pitchFamily="34" charset="0"/>
                <a:ea typeface="Arial"/>
                <a:cs typeface="Arial"/>
                <a:sym typeface="Avenir Next LT Pro" panose="020B0504020202020204" pitchFamily="34" charset="0"/>
              </a:endParaRPr>
            </a:p>
          </p:txBody>
        </p:sp>
        <p:sp>
          <p:nvSpPr>
            <p:cNvPr id="3071" name="Google Shape;3071;g1170bcf73d0_0_719"/>
            <p:cNvSpPr/>
            <p:nvPr/>
          </p:nvSpPr>
          <p:spPr>
            <a:xfrm>
              <a:off x="742950" y="5372100"/>
              <a:ext cx="1009650" cy="538165"/>
            </a:xfrm>
            <a:custGeom>
              <a:avLst/>
              <a:gdLst/>
              <a:ahLst/>
              <a:cxnLst/>
              <a:rect l="l" t="t" r="r" b="b"/>
              <a:pathLst>
                <a:path w="3695" h="1973" extrusionOk="0">
                  <a:moveTo>
                    <a:pt x="897" y="1535"/>
                  </a:moveTo>
                  <a:cubicBezTo>
                    <a:pt x="993" y="1635"/>
                    <a:pt x="1141" y="1718"/>
                    <a:pt x="1329" y="1718"/>
                  </a:cubicBezTo>
                  <a:cubicBezTo>
                    <a:pt x="1488" y="1718"/>
                    <a:pt x="1567" y="1643"/>
                    <a:pt x="1567" y="1565"/>
                  </a:cubicBezTo>
                  <a:cubicBezTo>
                    <a:pt x="1567" y="1464"/>
                    <a:pt x="1448" y="1429"/>
                    <a:pt x="1291" y="1392"/>
                  </a:cubicBezTo>
                  <a:cubicBezTo>
                    <a:pt x="1070" y="1342"/>
                    <a:pt x="784" y="1281"/>
                    <a:pt x="784" y="978"/>
                  </a:cubicBezTo>
                  <a:cubicBezTo>
                    <a:pt x="784" y="751"/>
                    <a:pt x="979" y="568"/>
                    <a:pt x="1300" y="568"/>
                  </a:cubicBezTo>
                  <a:cubicBezTo>
                    <a:pt x="1516" y="568"/>
                    <a:pt x="1695" y="633"/>
                    <a:pt x="1830" y="758"/>
                  </a:cubicBezTo>
                  <a:cubicBezTo>
                    <a:pt x="1669" y="971"/>
                    <a:pt x="1669" y="971"/>
                    <a:pt x="1669" y="971"/>
                  </a:cubicBezTo>
                  <a:cubicBezTo>
                    <a:pt x="1560" y="870"/>
                    <a:pt x="1413" y="822"/>
                    <a:pt x="1281" y="822"/>
                  </a:cubicBezTo>
                  <a:cubicBezTo>
                    <a:pt x="1150" y="822"/>
                    <a:pt x="1080" y="880"/>
                    <a:pt x="1080" y="960"/>
                  </a:cubicBezTo>
                  <a:cubicBezTo>
                    <a:pt x="1080" y="1053"/>
                    <a:pt x="1194" y="1080"/>
                    <a:pt x="1350" y="1117"/>
                  </a:cubicBezTo>
                  <a:cubicBezTo>
                    <a:pt x="1575" y="1168"/>
                    <a:pt x="1859" y="1236"/>
                    <a:pt x="1859" y="1537"/>
                  </a:cubicBezTo>
                  <a:cubicBezTo>
                    <a:pt x="1859" y="1786"/>
                    <a:pt x="1682" y="1973"/>
                    <a:pt x="1316" y="1973"/>
                  </a:cubicBezTo>
                  <a:cubicBezTo>
                    <a:pt x="1054" y="1973"/>
                    <a:pt x="868" y="1886"/>
                    <a:pt x="739" y="1757"/>
                  </a:cubicBezTo>
                  <a:lnTo>
                    <a:pt x="897" y="1535"/>
                  </a:lnTo>
                  <a:close/>
                  <a:moveTo>
                    <a:pt x="3187" y="1581"/>
                  </a:moveTo>
                  <a:cubicBezTo>
                    <a:pt x="3187" y="1785"/>
                    <a:pt x="3051" y="1947"/>
                    <a:pt x="2792" y="1947"/>
                  </a:cubicBezTo>
                  <a:cubicBezTo>
                    <a:pt x="2055" y="1947"/>
                    <a:pt x="2055" y="1947"/>
                    <a:pt x="2055" y="1947"/>
                  </a:cubicBezTo>
                  <a:cubicBezTo>
                    <a:pt x="2055" y="587"/>
                    <a:pt x="2055" y="587"/>
                    <a:pt x="2055" y="587"/>
                  </a:cubicBezTo>
                  <a:cubicBezTo>
                    <a:pt x="2769" y="587"/>
                    <a:pt x="2769" y="587"/>
                    <a:pt x="2769" y="587"/>
                  </a:cubicBezTo>
                  <a:cubicBezTo>
                    <a:pt x="3027" y="587"/>
                    <a:pt x="3160" y="753"/>
                    <a:pt x="3160" y="934"/>
                  </a:cubicBezTo>
                  <a:cubicBezTo>
                    <a:pt x="3160" y="1105"/>
                    <a:pt x="3053" y="1220"/>
                    <a:pt x="2926" y="1246"/>
                  </a:cubicBezTo>
                  <a:cubicBezTo>
                    <a:pt x="3071" y="1269"/>
                    <a:pt x="3187" y="1410"/>
                    <a:pt x="3187" y="1581"/>
                  </a:cubicBezTo>
                  <a:close/>
                  <a:moveTo>
                    <a:pt x="2344" y="1133"/>
                  </a:moveTo>
                  <a:cubicBezTo>
                    <a:pt x="2706" y="1133"/>
                    <a:pt x="2706" y="1133"/>
                    <a:pt x="2706" y="1133"/>
                  </a:cubicBezTo>
                  <a:cubicBezTo>
                    <a:pt x="2804" y="1133"/>
                    <a:pt x="2865" y="1070"/>
                    <a:pt x="2865" y="981"/>
                  </a:cubicBezTo>
                  <a:cubicBezTo>
                    <a:pt x="2865" y="897"/>
                    <a:pt x="2804" y="833"/>
                    <a:pt x="2706" y="833"/>
                  </a:cubicBezTo>
                  <a:cubicBezTo>
                    <a:pt x="2344" y="833"/>
                    <a:pt x="2344" y="833"/>
                    <a:pt x="2344" y="833"/>
                  </a:cubicBezTo>
                  <a:lnTo>
                    <a:pt x="2344" y="1133"/>
                  </a:lnTo>
                  <a:close/>
                  <a:moveTo>
                    <a:pt x="2893" y="1539"/>
                  </a:moveTo>
                  <a:cubicBezTo>
                    <a:pt x="2893" y="1453"/>
                    <a:pt x="2832" y="1380"/>
                    <a:pt x="2717" y="1380"/>
                  </a:cubicBezTo>
                  <a:cubicBezTo>
                    <a:pt x="2344" y="1380"/>
                    <a:pt x="2344" y="1380"/>
                    <a:pt x="2344" y="1380"/>
                  </a:cubicBezTo>
                  <a:cubicBezTo>
                    <a:pt x="2344" y="1701"/>
                    <a:pt x="2344" y="1701"/>
                    <a:pt x="2344" y="1701"/>
                  </a:cubicBezTo>
                  <a:cubicBezTo>
                    <a:pt x="2717" y="1701"/>
                    <a:pt x="2717" y="1701"/>
                    <a:pt x="2717" y="1701"/>
                  </a:cubicBezTo>
                  <a:cubicBezTo>
                    <a:pt x="2717" y="1699"/>
                    <a:pt x="2717" y="1699"/>
                    <a:pt x="2717" y="1699"/>
                  </a:cubicBezTo>
                  <a:cubicBezTo>
                    <a:pt x="2827" y="1699"/>
                    <a:pt x="2893" y="1636"/>
                    <a:pt x="2893" y="1539"/>
                  </a:cubicBezTo>
                  <a:close/>
                  <a:moveTo>
                    <a:pt x="3405" y="1947"/>
                  </a:moveTo>
                  <a:cubicBezTo>
                    <a:pt x="3695" y="1947"/>
                    <a:pt x="3695" y="1947"/>
                    <a:pt x="3695" y="1947"/>
                  </a:cubicBezTo>
                  <a:cubicBezTo>
                    <a:pt x="3695" y="587"/>
                    <a:pt x="3695" y="587"/>
                    <a:pt x="3695" y="587"/>
                  </a:cubicBezTo>
                  <a:cubicBezTo>
                    <a:pt x="3405" y="587"/>
                    <a:pt x="3405" y="587"/>
                    <a:pt x="3405" y="587"/>
                  </a:cubicBezTo>
                  <a:lnTo>
                    <a:pt x="3405" y="1947"/>
                  </a:lnTo>
                  <a:close/>
                  <a:moveTo>
                    <a:pt x="0" y="194"/>
                  </a:moveTo>
                  <a:cubicBezTo>
                    <a:pt x="0" y="301"/>
                    <a:pt x="86" y="387"/>
                    <a:pt x="193" y="387"/>
                  </a:cubicBezTo>
                  <a:cubicBezTo>
                    <a:pt x="300" y="387"/>
                    <a:pt x="387" y="301"/>
                    <a:pt x="387" y="194"/>
                  </a:cubicBezTo>
                  <a:cubicBezTo>
                    <a:pt x="387" y="87"/>
                    <a:pt x="300" y="0"/>
                    <a:pt x="193" y="0"/>
                  </a:cubicBezTo>
                  <a:cubicBezTo>
                    <a:pt x="86" y="0"/>
                    <a:pt x="0" y="87"/>
                    <a:pt x="0" y="194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venir Next LT Pro" panose="020B0504020202020204" pitchFamily="34" charset="0"/>
                <a:ea typeface="Arial"/>
                <a:cs typeface="Arial"/>
                <a:sym typeface="Avenir Next LT Pro" panose="020B0504020202020204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A17E60-437E-972B-091A-954BDC62D525}"/>
              </a:ext>
            </a:extLst>
          </p:cNvPr>
          <p:cNvSpPr txBox="1"/>
          <p:nvPr userDrawn="1"/>
        </p:nvSpPr>
        <p:spPr>
          <a:xfrm>
            <a:off x="450273" y="-41398"/>
            <a:ext cx="34065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>
                <a:solidFill>
                  <a:srgbClr val="FF000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Highl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92838081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D24B44-17CB-EDE9-0CC0-88BDB8B5E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207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AD24B44-17CB-EDE9-0CC0-88BDB8B5E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74DF4B-5AE3-9A90-3474-8CDE29D363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14413A-8D32-5799-D1E1-AC3515A663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D7EDCC-3168-1163-ECAE-7D6B33221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0028653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114116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4021850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4350739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647409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75203551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5009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53041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89064556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92462761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8991765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5490158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79758499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043174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4287914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55594881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6375152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163166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424230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80853673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75585271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59768457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63304011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44457591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9586120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82329315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14957796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347728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96878389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885150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38196559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743596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2989832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999743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086857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536443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1173248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60336653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27547879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0410574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518295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19323817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0475124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29241822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79397503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59525345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19351810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09051411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8113487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72212028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07439445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810465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49327096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19755225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5883310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38605095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blue dots bkdg">
  <p:cSld name="8_Title Slide blue dots bkdg">
    <p:bg>
      <p:bgPr>
        <a:solidFill>
          <a:schemeClr val="accent1"/>
        </a:solidFill>
        <a:effectLst/>
      </p:bgPr>
    </p:bg>
    <p:spTree>
      <p:nvGrpSpPr>
        <p:cNvPr id="1" name="Shape 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7E94AA-0537-A5DE-5CD9-40353820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65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7E94AA-0537-A5DE-5CD9-40353820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05" name="Google Shape;705;p52" descr="A picture containing text, night, road, dark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06" name="Google Shape;706;p52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7" name="Google Shape;707;p52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8" name="Google Shape;708;p52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09" name="Google Shape;709;p52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710" name="Google Shape;710;p52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1" name="Google Shape;711;p52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2" name="Google Shape;712;p52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3" name="Google Shape;713;p52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4" name="Google Shape;714;p52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5" name="Google Shape;715;p52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6" name="Google Shape;716;p52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7" name="Google Shape;717;p52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8" name="Google Shape;718;p52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9" name="Google Shape;719;p52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0" name="Google Shape;720;p52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1" name="Google Shape;721;p52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2" name="Google Shape;722;p52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3" name="Google Shape;723;p52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4" name="Google Shape;724;p52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5" name="Google Shape;725;p52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6" name="Google Shape;726;p52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7" name="Google Shape;727;p52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8" name="Google Shape;728;p52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9" name="Google Shape;729;p52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0" name="Google Shape;730;p52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1" name="Google Shape;731;p52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2" name="Google Shape;732;p52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3" name="Google Shape;733;p52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4" name="Google Shape;734;p52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5" name="Google Shape;735;p52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6" name="Google Shape;736;p52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7" name="Google Shape;737;p52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8" name="Google Shape;738;p52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9" name="Google Shape;739;p52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0" name="Google Shape;740;p52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1" name="Google Shape;741;p52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2" name="Google Shape;742;p52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3" name="Google Shape;743;p52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4" name="Google Shape;744;p52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5" name="Google Shape;745;p52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6" name="Google Shape;746;p52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7" name="Google Shape;747;p52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8" name="Google Shape;748;p52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9" name="Google Shape;749;p52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0" name="Google Shape;750;p52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1" name="Google Shape;751;p52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2" name="Google Shape;752;p52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3" name="Google Shape;753;p52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4" name="Google Shape;754;p52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5" name="Google Shape;755;p52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6" name="Google Shape;756;p52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7" name="Google Shape;757;p52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8" name="Google Shape;758;p52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9" name="Google Shape;759;p52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0" name="Google Shape;760;p52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1" name="Google Shape;761;p52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2" name="Google Shape;762;p52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3" name="Google Shape;763;p52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4" name="Google Shape;764;p52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5" name="Google Shape;765;p52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6" name="Google Shape;766;p52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7" name="Google Shape;767;p52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8" name="Google Shape;768;p52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9" name="Google Shape;769;p52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70" name="Google Shape;770;p52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71" name="Google Shape;771;p52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72" name="Google Shape;772;p52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73" name="Google Shape;773;p52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774" name="Google Shape;774;p52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3</a:t>
            </a:r>
            <a:endParaRPr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99787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ull page Image">
  <p:cSld name="Full page Image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37"/>
          <p:cNvSpPr>
            <a:spLocks noGrp="1"/>
          </p:cNvSpPr>
          <p:nvPr>
            <p:ph type="pic" idx="2"/>
          </p:nvPr>
        </p:nvSpPr>
        <p:spPr>
          <a:xfrm>
            <a:off x="0" y="0"/>
            <a:ext cx="12190413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426" name="Google Shape;426;p37"/>
          <p:cNvSpPr txBox="1">
            <a:spLocks noGrp="1"/>
          </p:cNvSpPr>
          <p:nvPr>
            <p:ph type="title"/>
          </p:nvPr>
        </p:nvSpPr>
        <p:spPr>
          <a:xfrm>
            <a:off x="612648" y="636625"/>
            <a:ext cx="10971212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7" name="Google Shape;427;p37"/>
          <p:cNvSpPr txBox="1">
            <a:spLocks noGrp="1"/>
          </p:cNvSpPr>
          <p:nvPr>
            <p:ph type="body" idx="1"/>
          </p:nvPr>
        </p:nvSpPr>
        <p:spPr>
          <a:xfrm>
            <a:off x="612648" y="1295400"/>
            <a:ext cx="4463732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Char char="•"/>
              <a:defRPr>
                <a:solidFill>
                  <a:schemeClr val="lt1"/>
                </a:solidFill>
              </a:defRPr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–"/>
              <a:defRPr>
                <a:solidFill>
                  <a:schemeClr val="lt1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8" name="Google Shape;428;p37"/>
          <p:cNvSpPr/>
          <p:nvPr/>
        </p:nvSpPr>
        <p:spPr>
          <a:xfrm>
            <a:off x="418346" y="-1"/>
            <a:ext cx="61714" cy="923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9" name="Google Shape;429;p37"/>
          <p:cNvSpPr txBox="1">
            <a:spLocks noGrp="1"/>
          </p:cNvSpPr>
          <p:nvPr>
            <p:ph type="sldNum" idx="12"/>
          </p:nvPr>
        </p:nvSpPr>
        <p:spPr>
          <a:xfrm>
            <a:off x="11459887" y="6335157"/>
            <a:ext cx="31242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0" name="Google Shape;430;p37"/>
          <p:cNvSpPr txBox="1">
            <a:spLocks noGrp="1"/>
          </p:cNvSpPr>
          <p:nvPr>
            <p:ph type="ftr" idx="11"/>
          </p:nvPr>
        </p:nvSpPr>
        <p:spPr>
          <a:xfrm>
            <a:off x="5673091" y="6335157"/>
            <a:ext cx="568071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0902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E5167-4121-4DFE-BB31-93B2708E55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5092700"/>
            <a:ext cx="12192000" cy="176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2B964-390E-4D76-9C5E-E60D482CA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2" y="90487"/>
            <a:ext cx="10963275" cy="77152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4FF6FD1-E4B5-4D9A-A47A-A1455205D6C6}"/>
              </a:ext>
            </a:extLst>
          </p:cNvPr>
          <p:cNvCxnSpPr>
            <a:cxnSpLocks/>
          </p:cNvCxnSpPr>
          <p:nvPr userDrawn="1"/>
        </p:nvCxnSpPr>
        <p:spPr>
          <a:xfrm>
            <a:off x="0" y="875340"/>
            <a:ext cx="12192000" cy="0"/>
          </a:xfrm>
          <a:prstGeom prst="line">
            <a:avLst/>
          </a:prstGeom>
          <a:ln w="19050">
            <a:solidFill>
              <a:srgbClr val="0C4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C76747F-7A5E-41AB-9AD4-A696353B6A52}"/>
              </a:ext>
            </a:extLst>
          </p:cNvPr>
          <p:cNvSpPr txBox="1">
            <a:spLocks/>
          </p:cNvSpPr>
          <p:nvPr userDrawn="1"/>
        </p:nvSpPr>
        <p:spPr>
          <a:xfrm>
            <a:off x="9325389" y="6421437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1F0E71-5B55-0748-8AD9-7F0F742E1E0D}" type="slidenum">
              <a:rPr kumimoji="0" lang="en-US" sz="108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8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4687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210430802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590933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68226403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853615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36809832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735114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42590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601789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89583934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20123148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93428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55738073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63999707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5841593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2111012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0934085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8137504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71141163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419877998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86140484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51946378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0036608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15721566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61966635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4814249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48948173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6509283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 userDrawn="1"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 userDrawn="1"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51024798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dark blue bkgd">
  <p:cSld name="1_Big Stmnt left dark blue bkgd"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CEDA48-29DF-AE9B-1238-C09E8F8B6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835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BCEDA48-29DF-AE9B-1238-C09E8F8B6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2" name="Google Shape;802;p58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803" name="Google Shape;803;p58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4" name="Google Shape;804;p58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" name="Google Shape;805;p58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‹#›</a:t>
            </a:fld>
            <a:endParaRPr sz="1100">
              <a:solidFill>
                <a:schemeClr val="dk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pic>
        <p:nvPicPr>
          <p:cNvPr id="806" name="Google Shape;806;p58" descr="A black and white logo&#10;&#10;Description automatically generated with low confidence"/>
          <p:cNvPicPr preferRelativeResize="0"/>
          <p:nvPr/>
        </p:nvPicPr>
        <p:blipFill rotWithShape="1">
          <a:blip r:embed="rId5">
            <a:alphaModFix/>
          </a:blip>
          <a:srcRect b="23462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07" name="Google Shape;807;p58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3</a:t>
            </a:r>
            <a:endParaRPr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4059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1789568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447908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6477265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1566690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4404597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 userDrawn="1"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 userDrawn="1"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0412236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189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9922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0073761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60721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077447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82074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8944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750312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47415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712874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4287888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7154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10761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772347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16154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8320096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5214182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873704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5682714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1562662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7599850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3360558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966079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243440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925940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4427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 userDrawn="1"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 userDrawn="1"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236242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 userDrawn="1"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 userDrawn="1"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 userDrawn="1"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048050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E5167-4121-4DFE-BB31-93B2708E55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092700"/>
            <a:ext cx="12192000" cy="176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2B964-390E-4D76-9C5E-E60D482CA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2" y="90487"/>
            <a:ext cx="10963275" cy="77152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4FF6FD1-E4B5-4D9A-A47A-A1455205D6C6}"/>
              </a:ext>
            </a:extLst>
          </p:cNvPr>
          <p:cNvCxnSpPr>
            <a:cxnSpLocks/>
          </p:cNvCxnSpPr>
          <p:nvPr userDrawn="1"/>
        </p:nvCxnSpPr>
        <p:spPr>
          <a:xfrm>
            <a:off x="0" y="875340"/>
            <a:ext cx="12192000" cy="0"/>
          </a:xfrm>
          <a:prstGeom prst="line">
            <a:avLst/>
          </a:prstGeom>
          <a:ln w="19050">
            <a:solidFill>
              <a:srgbClr val="0C4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C76747F-7A5E-41AB-9AD4-A696353B6A52}"/>
              </a:ext>
            </a:extLst>
          </p:cNvPr>
          <p:cNvSpPr txBox="1">
            <a:spLocks/>
          </p:cNvSpPr>
          <p:nvPr userDrawn="1"/>
        </p:nvSpPr>
        <p:spPr>
          <a:xfrm>
            <a:off x="9325389" y="6421437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1F0E71-5B55-0748-8AD9-7F0F742E1E0D}" type="slidenum">
              <a:rPr kumimoji="0" lang="en-US" sz="108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8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14421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panel small text bkgd">
  <p:cSld name="Four panel small text bkgd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5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9" name="Google Shape;19;p5"/>
          <p:cNvSpPr txBox="1"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5"/>
          <p:cNvSpPr txBox="1">
            <a:spLocks noGrp="1"/>
          </p:cNvSpPr>
          <p:nvPr>
            <p:ph type="body" idx="2"/>
          </p:nvPr>
        </p:nvSpPr>
        <p:spPr>
          <a:xfrm>
            <a:off x="620110" y="2510632"/>
            <a:ext cx="256458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Google Shape;21;p5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3"/>
          </p:nvPr>
        </p:nvSpPr>
        <p:spPr>
          <a:xfrm>
            <a:off x="3386316" y="1618987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4"/>
          </p:nvPr>
        </p:nvSpPr>
        <p:spPr>
          <a:xfrm>
            <a:off x="3386316" y="2510632"/>
            <a:ext cx="2564584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5"/>
          </p:nvPr>
        </p:nvSpPr>
        <p:spPr>
          <a:xfrm>
            <a:off x="9007306" y="1613430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6"/>
          </p:nvPr>
        </p:nvSpPr>
        <p:spPr>
          <a:xfrm>
            <a:off x="9007306" y="2510632"/>
            <a:ext cx="2564584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7"/>
          </p:nvPr>
        </p:nvSpPr>
        <p:spPr>
          <a:xfrm>
            <a:off x="6235423" y="1613430"/>
            <a:ext cx="256458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body" idx="8"/>
          </p:nvPr>
        </p:nvSpPr>
        <p:spPr>
          <a:xfrm>
            <a:off x="6241099" y="2510632"/>
            <a:ext cx="2564584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o"/>
              <a:defRPr sz="1100"/>
            </a:lvl3pPr>
            <a:lvl4pPr marL="1828800" lvl="3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−"/>
              <a:defRPr sz="1050"/>
            </a:lvl4pPr>
            <a:lvl5pPr marL="2286000" lvl="4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•"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4030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dark blue bkgd">
  <p:cSld name="Divider dark blue bkgd">
    <p:bg>
      <p:bgPr>
        <a:solidFill>
          <a:srgbClr val="071E31"/>
        </a:solidFill>
        <a:effectLst/>
      </p:bgPr>
    </p:bg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119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" name="Google Shape;99;p119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71560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use this one">
  <p:cSld name="Title Only use this on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2"/>
          <p:cNvSpPr txBox="1">
            <a:spLocks noGrp="1"/>
          </p:cNvSpPr>
          <p:nvPr>
            <p:ph type="title"/>
          </p:nvPr>
        </p:nvSpPr>
        <p:spPr>
          <a:xfrm>
            <a:off x="611188" y="636625"/>
            <a:ext cx="109712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venir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2"/>
          <p:cNvSpPr txBox="1">
            <a:spLocks noGrp="1"/>
          </p:cNvSpPr>
          <p:nvPr>
            <p:ph type="dt" idx="10"/>
          </p:nvPr>
        </p:nvSpPr>
        <p:spPr>
          <a:xfrm>
            <a:off x="8192995" y="6313487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22"/>
          <p:cNvSpPr txBox="1">
            <a:spLocks noGrp="1"/>
          </p:cNvSpPr>
          <p:nvPr>
            <p:ph type="ftr" idx="11"/>
          </p:nvPr>
        </p:nvSpPr>
        <p:spPr>
          <a:xfrm>
            <a:off x="5673091" y="6366001"/>
            <a:ext cx="56808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2"/>
          <p:cNvSpPr txBox="1">
            <a:spLocks noGrp="1"/>
          </p:cNvSpPr>
          <p:nvPr>
            <p:ph type="sldNum" idx="12"/>
          </p:nvPr>
        </p:nvSpPr>
        <p:spPr>
          <a:xfrm>
            <a:off x="11459887" y="6335157"/>
            <a:ext cx="3124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10506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7855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3614586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7970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22618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7883424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76478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10730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6211870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8018550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8347887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30116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5</a:t>
            </a:r>
          </a:p>
        </p:txBody>
      </p:sp>
    </p:spTree>
    <p:extLst>
      <p:ext uri="{BB962C8B-B14F-4D97-AF65-F5344CB8AC3E}">
        <p14:creationId xmlns:p14="http://schemas.microsoft.com/office/powerpoint/2010/main" val="3908343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5120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7035764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5</a:t>
            </a:r>
          </a:p>
        </p:txBody>
      </p:sp>
    </p:spTree>
    <p:extLst>
      <p:ext uri="{BB962C8B-B14F-4D97-AF65-F5344CB8AC3E}">
        <p14:creationId xmlns:p14="http://schemas.microsoft.com/office/powerpoint/2010/main" val="29219980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1578734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207269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264571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41800932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7523968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3610144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7618783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8977069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76146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86349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0598285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44410169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5891426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9796FF-D2E0-4363-18ED-CE26822FA6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932F34D-1A10-BC05-7DD7-B1C339719C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C5D8E7-D55D-C430-68DE-D0608580A0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8DB154-A152-67D4-E25C-4B78870F8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0B326-5622-C3AE-8597-C98650C8E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2976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CFC73-DBDC-420A-E98B-681F70F2C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5DBD63-C945-745B-811F-57DE438B65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9AD2C-949B-8D70-7E81-191DA7CE4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0983FF-D66B-3ECF-CC95-BFA0683EC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E5CB92-F7E5-892F-4959-AE2D30F70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1760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20E670-F4D2-C6C1-14F7-BBF8129FD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D362A4-BC61-8C5C-7F3D-3FDA70135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CDFCE9-4343-064E-1A5E-CF98E648AF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0EF8B9-98F4-F7A3-12EE-466E86A03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EBD842-10FC-3271-6979-DBAAE3E18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1806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497CFE-0331-8601-C857-88165ADA9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CA881-EAD2-BDBF-F1B3-5D38F8A16A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58F93-E9B1-DF32-D798-81624942DB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62FE14-51BC-2889-47AF-3DA5F8AA1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79295D-F694-186F-3FC4-971A21887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FB03A4-2461-36DE-973E-502523AA3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9512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50D37-C497-CE0F-38F2-7A74A38AD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0201B4-3678-8C93-D868-046CFE17F4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6063D2-512E-8172-DA3F-D0CE0EAF36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EE7B10-7B95-422B-1B95-0865CC8329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D6975B-EB52-576B-912E-85F1057876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78B772-1B72-93DD-B7AB-85559DA55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8D2515-D89D-B7C2-F996-9AEB29D25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7478A4E-00D2-59E2-348A-D1C6DEB72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311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EB566-C1AC-D24A-79CB-57E6B1476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35F5A8-4F4B-83D3-B095-614EEF57A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B83FBB-C6E6-9D8E-7CC3-874976DC7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BFCF38-6EE0-4C16-73B3-700B9B08F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5901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6781E7D-92D5-8B41-17EC-B5899C3BF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9E3FF7-7CEC-27F3-835E-1E463B4F9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00B1FD-F428-BC62-3FA7-63C83F67D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866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694555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9553EB-D45D-CBE9-3534-B901B8B35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EC7DD-0349-17B8-5486-F8F3EC47CC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1BD9B8-AB1D-96E7-A49C-0CAF20A599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D3B3F9-C5E8-DC74-D652-DFD362DF4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A151FE-FEBC-73C0-FBBA-BABE630264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0B132-08CD-EF1B-0A4F-C0DAFCFC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3371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4AD20A-B195-1EC9-6400-A3161F4A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96A33C-D981-C39C-CC3B-1E565D8377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B62904-4B77-1754-4462-A6529E00C4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9523AC-182A-2D8B-5419-E92974132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3FCB89-DF90-3B75-8A4C-F922A18C5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FBB842-3F82-EB0A-5C13-716873C65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337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25E0A4-D85A-5EA6-C77D-94DCABCAC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F187D7-EBB2-71BA-4411-1462995B62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309B76-4762-536A-94F5-8AF6C1F08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C79EEB-A040-9181-7E53-902CCC98D4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11AF0C-D988-9DD9-1DB0-E5B1FD5D3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53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FFAA44A-36FA-99A2-274A-F59BB28EE8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9B240C-B6DE-0B09-98E6-77CBB98DB8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F1D6E7-5C1C-B0DA-53E5-6EA4B30FB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6A89FC-00C8-C30A-9FC0-CFC70CCBCB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651ED2-1EB3-F20F-0A28-10FB1E3FF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58772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726426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7596146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6301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35079121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4712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4287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26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02.xml"/><Relationship Id="rId21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5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0" Type="http://schemas.openxmlformats.org/officeDocument/2006/relationships/slideLayout" Target="../slideLayouts/slideLayout219.xml"/><Relationship Id="rId29" Type="http://schemas.openxmlformats.org/officeDocument/2006/relationships/oleObject" Target="../embeddings/oleObject48.bin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24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slideLayout" Target="../slideLayouts/slideLayout222.xml"/><Relationship Id="rId28" Type="http://schemas.openxmlformats.org/officeDocument/2006/relationships/tags" Target="../tags/tag191.xml"/><Relationship Id="rId10" Type="http://schemas.openxmlformats.org/officeDocument/2006/relationships/slideLayout" Target="../slideLayouts/slideLayout209.xml"/><Relationship Id="rId19" Type="http://schemas.openxmlformats.org/officeDocument/2006/relationships/slideLayout" Target="../slideLayouts/slideLayout218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slideLayout" Target="../slideLayouts/slideLayout221.xml"/><Relationship Id="rId27" Type="http://schemas.openxmlformats.org/officeDocument/2006/relationships/theme" Target="../theme/theme10.xml"/><Relationship Id="rId30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3.xml"/><Relationship Id="rId30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oleObject" Target="../embeddings/oleObject28.bin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ags" Target="../tags/tag2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heme" Target="../theme/theme3.xml"/><Relationship Id="rId8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oleObject" Target="../embeddings/oleObject48.bin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tags" Target="../tags/tag55.xml"/><Relationship Id="rId30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5.emf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oleObject" Target="../embeddings/oleObject54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oleObject" Target="../embeddings/oleObject48.bin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tags" Target="../tags/tag82.xml"/><Relationship Id="rId30" Type="http://schemas.openxmlformats.org/officeDocument/2006/relationships/image" Target="../media/image4.png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39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oleObject" Target="../embeddings/oleObject55.bin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31" Type="http://schemas.openxmlformats.org/officeDocument/2006/relationships/tags" Target="../tags/tag10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theme" Target="../theme/theme7.xml"/><Relationship Id="rId8" Type="http://schemas.openxmlformats.org/officeDocument/2006/relationships/slideLayout" Target="../slideLayouts/slideLayout12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oleObject" Target="../embeddings/oleObject48.bin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tags" Target="../tags/tag138.xml"/><Relationship Id="rId30" Type="http://schemas.openxmlformats.org/officeDocument/2006/relationships/image" Target="../media/image4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slideLayout" Target="../slideLayouts/slideLayout190.xml"/><Relationship Id="rId26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75.xml"/><Relationship Id="rId21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slideLayout" Target="../slideLayouts/slideLayout189.xml"/><Relationship Id="rId25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20" Type="http://schemas.openxmlformats.org/officeDocument/2006/relationships/slideLayout" Target="../slideLayouts/slideLayout192.xml"/><Relationship Id="rId29" Type="http://schemas.openxmlformats.org/officeDocument/2006/relationships/tags" Target="../tags/tag16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196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23" Type="http://schemas.openxmlformats.org/officeDocument/2006/relationships/slideLayout" Target="../slideLayouts/slideLayout195.xml"/><Relationship Id="rId28" Type="http://schemas.openxmlformats.org/officeDocument/2006/relationships/theme" Target="../theme/theme9.xml"/><Relationship Id="rId10" Type="http://schemas.openxmlformats.org/officeDocument/2006/relationships/slideLayout" Target="../slideLayouts/slideLayout182.xml"/><Relationship Id="rId19" Type="http://schemas.openxmlformats.org/officeDocument/2006/relationships/slideLayout" Target="../slideLayouts/slideLayout191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Relationship Id="rId22" Type="http://schemas.openxmlformats.org/officeDocument/2006/relationships/slideLayout" Target="../slideLayouts/slideLayout194.xml"/><Relationship Id="rId27" Type="http://schemas.openxmlformats.org/officeDocument/2006/relationships/slideLayout" Target="../slideLayouts/slideLayout199.xml"/><Relationship Id="rId30" Type="http://schemas.openxmlformats.org/officeDocument/2006/relationships/oleObject" Target="../embeddings/oleObject4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1FB80A-ECA5-4043-9D94-29FEB08ED2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7956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1FB80A-ECA5-4043-9D94-29FEB08ED2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F30DAEF-B03F-4CB1-85D3-C22B606514A1}"/>
              </a:ext>
            </a:extLst>
          </p:cNvPr>
          <p:cNvSpPr txBox="1">
            <a:spLocks/>
          </p:cNvSpPr>
          <p:nvPr userDrawn="1"/>
        </p:nvSpPr>
        <p:spPr>
          <a:xfrm>
            <a:off x="9325389" y="6421437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1F0E71-5B55-0748-8AD9-7F0F742E1E0D}" type="slidenum">
              <a:rPr kumimoji="0" lang="en-US" sz="108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8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1494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548640">
        <a:defRPr>
          <a:latin typeface="+mn-lt"/>
          <a:ea typeface="+mn-ea"/>
          <a:cs typeface="+mn-cs"/>
        </a:defRPr>
      </a:lvl2pPr>
      <a:lvl3pPr marL="1097280">
        <a:defRPr>
          <a:latin typeface="+mn-lt"/>
          <a:ea typeface="+mn-ea"/>
          <a:cs typeface="+mn-cs"/>
        </a:defRPr>
      </a:lvl3pPr>
      <a:lvl4pPr marL="1645920">
        <a:defRPr>
          <a:latin typeface="+mn-lt"/>
          <a:ea typeface="+mn-ea"/>
          <a:cs typeface="+mn-cs"/>
        </a:defRPr>
      </a:lvl4pPr>
      <a:lvl5pPr marL="2194560">
        <a:defRPr>
          <a:latin typeface="+mn-lt"/>
          <a:ea typeface="+mn-ea"/>
          <a:cs typeface="+mn-cs"/>
        </a:defRPr>
      </a:lvl5pPr>
      <a:lvl6pPr marL="2743200">
        <a:defRPr>
          <a:latin typeface="+mn-lt"/>
          <a:ea typeface="+mn-ea"/>
          <a:cs typeface="+mn-cs"/>
        </a:defRPr>
      </a:lvl6pPr>
      <a:lvl7pPr marL="3291840">
        <a:defRPr>
          <a:latin typeface="+mn-lt"/>
          <a:ea typeface="+mn-ea"/>
          <a:cs typeface="+mn-cs"/>
        </a:defRPr>
      </a:lvl7pPr>
      <a:lvl8pPr marL="3840480">
        <a:defRPr>
          <a:latin typeface="+mn-lt"/>
          <a:ea typeface="+mn-ea"/>
          <a:cs typeface="+mn-cs"/>
        </a:defRPr>
      </a:lvl8pPr>
      <a:lvl9pPr marL="438912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548640">
        <a:defRPr>
          <a:latin typeface="+mn-lt"/>
          <a:ea typeface="+mn-ea"/>
          <a:cs typeface="+mn-cs"/>
        </a:defRPr>
      </a:lvl2pPr>
      <a:lvl3pPr marL="1097280">
        <a:defRPr>
          <a:latin typeface="+mn-lt"/>
          <a:ea typeface="+mn-ea"/>
          <a:cs typeface="+mn-cs"/>
        </a:defRPr>
      </a:lvl3pPr>
      <a:lvl4pPr marL="1645920">
        <a:defRPr>
          <a:latin typeface="+mn-lt"/>
          <a:ea typeface="+mn-ea"/>
          <a:cs typeface="+mn-cs"/>
        </a:defRPr>
      </a:lvl4pPr>
      <a:lvl5pPr marL="2194560">
        <a:defRPr>
          <a:latin typeface="+mn-lt"/>
          <a:ea typeface="+mn-ea"/>
          <a:cs typeface="+mn-cs"/>
        </a:defRPr>
      </a:lvl5pPr>
      <a:lvl6pPr marL="2743200">
        <a:defRPr>
          <a:latin typeface="+mn-lt"/>
          <a:ea typeface="+mn-ea"/>
          <a:cs typeface="+mn-cs"/>
        </a:defRPr>
      </a:lvl6pPr>
      <a:lvl7pPr marL="3291840">
        <a:defRPr>
          <a:latin typeface="+mn-lt"/>
          <a:ea typeface="+mn-ea"/>
          <a:cs typeface="+mn-cs"/>
        </a:defRPr>
      </a:lvl7pPr>
      <a:lvl8pPr marL="3840480">
        <a:defRPr>
          <a:latin typeface="+mn-lt"/>
          <a:ea typeface="+mn-ea"/>
          <a:cs typeface="+mn-cs"/>
        </a:defRPr>
      </a:lvl8pPr>
      <a:lvl9pPr marL="4389120">
        <a:defRPr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0" imgH="409" progId="TCLayout.ActiveDocument.1">
                  <p:embed/>
                </p:oleObj>
              </mc:Choice>
              <mc:Fallback>
                <p:oleObj name="think-cell Slide" r:id="rId29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 userDrawn="1"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 userDrawn="1"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401255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  <p:sldLayoutId id="2147483936" r:id="rId20"/>
    <p:sldLayoutId id="2147483937" r:id="rId21"/>
    <p:sldLayoutId id="2147483938" r:id="rId22"/>
    <p:sldLayoutId id="2147483939" r:id="rId23"/>
    <p:sldLayoutId id="2147483940" r:id="rId24"/>
    <p:sldLayoutId id="2147483941" r:id="rId25"/>
    <p:sldLayoutId id="2147483942" r:id="rId2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 userDrawn="1"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 userDrawn="1"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912940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0" imgH="409" progId="TCLayout.ActiveDocument.1">
                  <p:embed/>
                </p:oleObj>
              </mc:Choice>
              <mc:Fallback>
                <p:oleObj name="think-cell Slide" r:id="rId32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 userDrawn="1"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 userDrawn="1"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5</a:t>
            </a:r>
          </a:p>
        </p:txBody>
      </p:sp>
    </p:spTree>
    <p:extLst>
      <p:ext uri="{BB962C8B-B14F-4D97-AF65-F5344CB8AC3E}">
        <p14:creationId xmlns:p14="http://schemas.microsoft.com/office/powerpoint/2010/main" val="546962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3" r:id="rId26"/>
    <p:sldLayoutId id="2147483734" r:id="rId27"/>
    <p:sldLayoutId id="2147483735" r:id="rId28"/>
    <p:sldLayoutId id="2147483736" r:id="rId2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18919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CCACCF9-493A-7D52-9BEF-2A91C3FEA5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61173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CCACCF9-493A-7D52-9BEF-2A91C3FEA5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2C32A1-E196-88AD-C78C-5D6024226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88B1BF-502F-DC07-3934-CF74B8C0FD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91E955-8D1B-9DBB-01FB-D1307F7452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04423-D8D8-4C4E-9F97-045EE1F73ABD}" type="datetimeFigureOut">
              <a:rPr lang="en-US" smtClean="0"/>
              <a:t>6/1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E24C-969F-23CF-D719-68A235D45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99C045-5377-23E7-E2B8-1E6386335E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82AE94-9BB3-474A-BCFD-A514515982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255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 userDrawn="1"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 userDrawn="1"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30971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70306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0" imgH="409" progId="TCLayout.ActiveDocument.1">
                  <p:embed/>
                </p:oleObj>
              </mc:Choice>
              <mc:Fallback>
                <p:oleObj name="think-cell Slide" r:id="rId32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 userDrawn="1"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 userDrawn="1"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91526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  <p:sldLayoutId id="2147483847" r:id="rId15"/>
    <p:sldLayoutId id="2147483848" r:id="rId16"/>
    <p:sldLayoutId id="2147483849" r:id="rId17"/>
    <p:sldLayoutId id="2147483850" r:id="rId18"/>
    <p:sldLayoutId id="2147483851" r:id="rId19"/>
    <p:sldLayoutId id="2147483852" r:id="rId20"/>
    <p:sldLayoutId id="2147483853" r:id="rId21"/>
    <p:sldLayoutId id="2147483854" r:id="rId22"/>
    <p:sldLayoutId id="2147483855" r:id="rId23"/>
    <p:sldLayoutId id="2147483856" r:id="rId24"/>
    <p:sldLayoutId id="2147483857" r:id="rId25"/>
    <p:sldLayoutId id="2147483858" r:id="rId26"/>
    <p:sldLayoutId id="2147483859" r:id="rId27"/>
    <p:sldLayoutId id="2147483860" r:id="rId28"/>
    <p:sldLayoutId id="2147483861" r:id="rId2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  <a:sym typeface="Avenir Next LT Pro" panose="020B05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263588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1" r:id="rId19"/>
    <p:sldLayoutId id="2147483882" r:id="rId20"/>
    <p:sldLayoutId id="2147483883" r:id="rId21"/>
    <p:sldLayoutId id="2147483884" r:id="rId22"/>
    <p:sldLayoutId id="2147483885" r:id="rId23"/>
    <p:sldLayoutId id="2147483886" r:id="rId24"/>
    <p:sldLayoutId id="2147483887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56900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18.xml"/><Relationship Id="rId5" Type="http://schemas.openxmlformats.org/officeDocument/2006/relationships/hyperlink" Target="https://pro.sbigrowth.com/ga/understanding-the-spectrum-of-ai-capabilities-for-gtm" TargetMode="External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02170F-8993-5791-B835-5849156E6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4839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202170F-8993-5791-B835-5849156E6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3B3342-0320-D1AE-7ACE-25B0168B0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1332464" cy="767853"/>
          </a:xfrm>
        </p:spPr>
        <p:txBody>
          <a:bodyPr vert="horz">
            <a:normAutofit/>
          </a:bodyPr>
          <a:lstStyle/>
          <a:p>
            <a:r>
              <a:rPr lang="en-US" dirty="0"/>
              <a:t>Maturity model for artificial intelligence in go-to-market</a:t>
            </a:r>
          </a:p>
        </p:txBody>
      </p:sp>
      <p:graphicFrame>
        <p:nvGraphicFramePr>
          <p:cNvPr id="4" name="Table 41">
            <a:extLst>
              <a:ext uri="{FF2B5EF4-FFF2-40B4-BE49-F238E27FC236}">
                <a16:creationId xmlns:a16="http://schemas.microsoft.com/office/drawing/2014/main" id="{263A33C0-158F-9870-E167-1A2E4FE38B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70613"/>
              </p:ext>
            </p:extLst>
          </p:nvPr>
        </p:nvGraphicFramePr>
        <p:xfrm>
          <a:off x="256032" y="1071679"/>
          <a:ext cx="11686033" cy="4802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1368">
                  <a:extLst>
                    <a:ext uri="{9D8B030D-6E8A-4147-A177-3AD203B41FA5}">
                      <a16:colId xmlns:a16="http://schemas.microsoft.com/office/drawing/2014/main" val="3493809582"/>
                    </a:ext>
                  </a:extLst>
                </a:gridCol>
                <a:gridCol w="1976933">
                  <a:extLst>
                    <a:ext uri="{9D8B030D-6E8A-4147-A177-3AD203B41FA5}">
                      <a16:colId xmlns:a16="http://schemas.microsoft.com/office/drawing/2014/main" val="1051176153"/>
                    </a:ext>
                  </a:extLst>
                </a:gridCol>
                <a:gridCol w="1976933">
                  <a:extLst>
                    <a:ext uri="{9D8B030D-6E8A-4147-A177-3AD203B41FA5}">
                      <a16:colId xmlns:a16="http://schemas.microsoft.com/office/drawing/2014/main" val="2983582135"/>
                    </a:ext>
                  </a:extLst>
                </a:gridCol>
                <a:gridCol w="2026310">
                  <a:extLst>
                    <a:ext uri="{9D8B030D-6E8A-4147-A177-3AD203B41FA5}">
                      <a16:colId xmlns:a16="http://schemas.microsoft.com/office/drawing/2014/main" val="4087117445"/>
                    </a:ext>
                  </a:extLst>
                </a:gridCol>
                <a:gridCol w="1927556">
                  <a:extLst>
                    <a:ext uri="{9D8B030D-6E8A-4147-A177-3AD203B41FA5}">
                      <a16:colId xmlns:a16="http://schemas.microsoft.com/office/drawing/2014/main" val="2979380357"/>
                    </a:ext>
                  </a:extLst>
                </a:gridCol>
                <a:gridCol w="1976933">
                  <a:extLst>
                    <a:ext uri="{9D8B030D-6E8A-4147-A177-3AD203B41FA5}">
                      <a16:colId xmlns:a16="http://schemas.microsoft.com/office/drawing/2014/main" val="402270391"/>
                    </a:ext>
                  </a:extLst>
                </a:gridCol>
              </a:tblGrid>
              <a:tr h="34950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none">
                          <a:solidFill>
                            <a:schemeClr val="tx1"/>
                          </a:solidFill>
                        </a:rPr>
                        <a:t>1. Undefined</a:t>
                      </a:r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none">
                          <a:solidFill>
                            <a:schemeClr val="tx1"/>
                          </a:solidFill>
                        </a:rPr>
                        <a:t>2. Defined</a:t>
                      </a:r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none">
                          <a:solidFill>
                            <a:schemeClr val="tx1"/>
                          </a:solidFill>
                        </a:rPr>
                        <a:t>3. Implemented</a:t>
                      </a:r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none">
                          <a:solidFill>
                            <a:schemeClr val="tx1"/>
                          </a:solidFill>
                        </a:rPr>
                        <a:t>4. Managed</a:t>
                      </a:r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none">
                          <a:solidFill>
                            <a:schemeClr val="tx1"/>
                          </a:solidFill>
                        </a:rPr>
                        <a:t>5. Predictable</a:t>
                      </a:r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003496"/>
                  </a:ext>
                </a:extLst>
              </a:tr>
              <a:tr h="651773">
                <a:tc>
                  <a:txBody>
                    <a:bodyPr/>
                    <a:lstStyle/>
                    <a:p>
                      <a:pPr marL="58738" indent="0" algn="l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Growth </a:t>
                      </a:r>
                    </a:p>
                    <a:p>
                      <a:pPr marL="58738" indent="0" algn="l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Strate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71E31"/>
                          </a:solidFill>
                          <a:effectLst/>
                          <a:uLnTx/>
                          <a:uFillTx/>
                          <a:latin typeface="Avenir Next LT Pro"/>
                          <a:ea typeface="+mn-ea"/>
                          <a:cs typeface="+mn-cs"/>
                        </a:rPr>
                        <a:t>Has not identified use cases for growth functions nor created a roadmap for AI-driven growt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/>
                        <a:t>Has initiated AI experiments in some growth-related activities but lacks a cohesive strategy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/>
                        <a:t>Cross-functional collaboration on growth initiatives using AI; using AI in GTM is more than novelty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/>
                        <a:t>Has employed AI to accelerate growth; KPIs show substantial AI value realiza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/>
                        <a:t>AI is central to GTM innovation, contributing to a competitive edge; AI is a key differentiato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0307981"/>
                  </a:ext>
                </a:extLst>
              </a:tr>
              <a:tr h="742697">
                <a:tc>
                  <a:txBody>
                    <a:bodyPr/>
                    <a:lstStyle/>
                    <a:p>
                      <a:pPr marL="227013" lvl="1" indent="0" algn="l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Customer Engag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71E3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s not created use case inventory for CS functions &amp; does not have a clear AI roadmap for utilization with customer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Minimal AI usage in customer outreach, unclear how to scale; AI is mainly used only internally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Integrated AI across multiple CS motions; teams work to share insights &amp; coordinate efforts, blending human and AI output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AI is central to understanding &amp; engaging customers, leading to personalized &amp; data-driven customer interactions.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AI-driven customer engagement is a key differentiator, ensuring customer loyalty &amp; growth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7471068"/>
                  </a:ext>
                </a:extLst>
              </a:tr>
              <a:tr h="651773">
                <a:tc>
                  <a:txBody>
                    <a:bodyPr/>
                    <a:lstStyle/>
                    <a:p>
                      <a:pPr marL="227013" lvl="1" indent="0" algn="l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Process &amp; 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71E31"/>
                          </a:solidFill>
                          <a:effectLst/>
                          <a:uLnTx/>
                          <a:uFillTx/>
                          <a:latin typeface="Avenir Next LT Pro"/>
                          <a:ea typeface="+mn-ea"/>
                          <a:cs typeface="+mn-cs"/>
                        </a:rPr>
                        <a:t>Has not examined current processes to determine suitability for AI enablement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Initiated AI integration into some sales processes but lacks a cohesive strategy. Processes are not altered to leverage AI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Some processes are changed to leverage AI efficiency &amp; redeploy effort. Team seeks ways to increase AI usage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AI is strategically applied to streamline internal operations, reducing manual tasks &amp; improving efficiency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AI drives profound internal transformation, reshaping the company's operations &amp; culture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000071"/>
                  </a:ext>
                </a:extLst>
              </a:tr>
              <a:tr h="742697">
                <a:tc>
                  <a:txBody>
                    <a:bodyPr/>
                    <a:lstStyle/>
                    <a:p>
                      <a:pPr marL="227013" lvl="1" indent="0" algn="l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alent &amp; Enabl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71E3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s not inventoried AI competency levels across the commercial team; no clear AI enablement strategy defined.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71E31"/>
                        </a:solidFill>
                        <a:effectLst/>
                        <a:uLnTx/>
                        <a:uFillTx/>
                        <a:latin typeface="Avenir Next LT Pro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Initiated AI integration into some training content without cohesive strategy. One-off AI utilization for document generation task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Teams receive some training for an increasing number of AI products to use that are on company’s official tech stack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Employees are proficient in using AI tools relevant to their roles, &amp; AI knowledge is integrated into job function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AI expertise is a core competency for all employees. AI is integral to decision-making at all level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684107"/>
                  </a:ext>
                </a:extLst>
              </a:tr>
              <a:tr h="651773">
                <a:tc>
                  <a:txBody>
                    <a:bodyPr/>
                    <a:lstStyle/>
                    <a:p>
                      <a:pPr marL="227013" lvl="1" indent="0" algn="l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Data &amp; </a:t>
                      </a:r>
                    </a:p>
                    <a:p>
                      <a:pPr marL="227013" lvl="1" indent="0" algn="l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71E31"/>
                          </a:solidFill>
                          <a:effectLst/>
                          <a:uLnTx/>
                          <a:uFillTx/>
                          <a:latin typeface="Avenir Next LT Pro"/>
                          <a:ea typeface="+mn-ea"/>
                          <a:cs typeface="+mn-cs"/>
                        </a:rPr>
                        <a:t>Minimal AI placed on top of existing infrastructure with no changes to underlying data or technology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Some data &amp; technology specifically for AI-enabled processes in place but are isolated from core IT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Basic AI infrastructure is in place, &amp; teams collaborate to implement AI technologie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Comprehensive AI infrastructure supports strategic AI applications, with a focus on data quality &amp; integration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/>
                        <a:t>Cutting-edge AI technologies &amp; infrastructure are the backbone of the company’s data strategy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8864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61913" lvl="1" indent="0" algn="l"/>
                      <a:endParaRPr lang="en-US" sz="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71E31"/>
                        </a:solidFill>
                        <a:effectLst/>
                        <a:uLnTx/>
                        <a:uFillTx/>
                        <a:latin typeface="Avenir Next LT Pro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1"/>
                    </a:p>
                  </a:txBody>
                  <a:tcPr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1"/>
                    </a:p>
                  </a:txBody>
                  <a:tcPr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1"/>
                    </a:p>
                  </a:txBody>
                  <a:tcPr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1"/>
                    </a:p>
                  </a:txBody>
                  <a:tcPr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6731730"/>
                  </a:ext>
                </a:extLst>
              </a:tr>
              <a:tr h="873762">
                <a:tc>
                  <a:txBody>
                    <a:bodyPr/>
                    <a:lstStyle/>
                    <a:p>
                      <a:pPr marL="61913" lvl="1" indent="0" algn="l"/>
                      <a:r>
                        <a:rPr lang="en-US" sz="1400" b="1" i="1">
                          <a:solidFill>
                            <a:schemeClr val="bg1"/>
                          </a:solidFill>
                        </a:rPr>
                        <a:t>How does this look &amp; feel to </a:t>
                      </a:r>
                      <a:br>
                        <a:rPr lang="en-US" sz="1400" b="1" i="1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i="1">
                          <a:solidFill>
                            <a:schemeClr val="bg1"/>
                          </a:solidFill>
                        </a:rPr>
                        <a:t>the organization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phazard, ad hoc usage of AI; no clear priorities or roadmap; has not proven a business case or solved for concerns (data security, ethical usage, etc.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i="1">
                          <a:solidFill>
                            <a:schemeClr val="tx1"/>
                          </a:solidFill>
                          <a:latin typeface="+mn-lt"/>
                        </a:rPr>
                        <a:t>Some direction in how to use AI; independent testing across GTM teams lacks coordination; success criteria largely undefined &amp; hard to ass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i="1">
                          <a:solidFill>
                            <a:schemeClr val="tx1"/>
                          </a:solidFill>
                          <a:latin typeface="+mn-lt"/>
                        </a:rPr>
                        <a:t>Coordination across GTM </a:t>
                      </a:r>
                      <a:br>
                        <a:rPr lang="en-US" sz="900" b="0" i="1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900" b="0" i="1">
                          <a:solidFill>
                            <a:schemeClr val="tx1"/>
                          </a:solidFill>
                          <a:latin typeface="+mn-lt"/>
                        </a:rPr>
                        <a:t>teams using AI with processes &amp; enablement beginning to change; KPIs show value in AI use, but need more to prove business cas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i="1">
                          <a:solidFill>
                            <a:schemeClr val="tx1"/>
                          </a:solidFill>
                          <a:latin typeface="+mn-lt"/>
                        </a:rPr>
                        <a:t>AI becoming integral to GTM processes; internal operations &amp; deal metrics showing greater efficiency &amp; value generation; IT infrastructure ready for sca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i="1">
                          <a:solidFill>
                            <a:schemeClr val="tx1"/>
                          </a:solidFill>
                          <a:latin typeface="+mn-lt"/>
                        </a:rPr>
                        <a:t>AI has revolutionized the GTM function; impact is inseparable from overall business success; across the board efficiency gains have been realiz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02820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889E2D7-D621-05C6-50FD-E137C5C2A234}"/>
              </a:ext>
            </a:extLst>
          </p:cNvPr>
          <p:cNvSpPr txBox="1"/>
          <p:nvPr/>
        </p:nvSpPr>
        <p:spPr>
          <a:xfrm>
            <a:off x="256032" y="5949877"/>
            <a:ext cx="68419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>
                <a:solidFill>
                  <a:schemeClr val="tx1"/>
                </a:solidFill>
                <a:latin typeface="+mn-lt"/>
              </a:rPr>
              <a:t>For more: </a:t>
            </a:r>
            <a:r>
              <a:rPr lang="en-US" sz="900">
                <a:solidFill>
                  <a:srgbClr val="0563C1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-US" sz="900" dirty="0">
                <a:solidFill>
                  <a:srgbClr val="0563C1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.sbigrowth.com/ga/understanding-the-spectrum-of-ai-capabilities-for-gtm</a:t>
            </a:r>
            <a:r>
              <a:rPr lang="en-US" sz="900" dirty="0"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5534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New SBI Brand Colors">
      <a:dk1>
        <a:srgbClr val="03327C"/>
      </a:dk1>
      <a:lt1>
        <a:srgbClr val="007FD1"/>
      </a:lt1>
      <a:dk2>
        <a:srgbClr val="6BB0E6"/>
      </a:dk2>
      <a:lt2>
        <a:srgbClr val="E6E7E8"/>
      </a:lt2>
      <a:accent1>
        <a:srgbClr val="007FD1"/>
      </a:accent1>
      <a:accent2>
        <a:srgbClr val="F9BE2D"/>
      </a:accent2>
      <a:accent3>
        <a:srgbClr val="F54B47"/>
      </a:accent3>
      <a:accent4>
        <a:srgbClr val="03327C"/>
      </a:accent4>
      <a:accent5>
        <a:srgbClr val="FFFFFF"/>
      </a:accent5>
      <a:accent6>
        <a:srgbClr val="FFFFFF"/>
      </a:accent6>
      <a:hlink>
        <a:srgbClr val="FFFFFF"/>
      </a:hlink>
      <a:folHlink>
        <a:srgbClr val="800080"/>
      </a:folHlink>
    </a:clrScheme>
    <a:fontScheme name="Custom 1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Overview - September 2022" id="{7D43C5B7-D19D-47D8-98CC-B5589DF58C43}" vid="{1787F0E4-926A-4420-9CC4-FAEEC2AE1AF7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Master PPT Template Update 8.15.22" id="{59C147B4-E17F-9643-ACE6-8334368039BF}" vid="{C59A9172-04D4-8D41-9FD4-D006962AF498}"/>
    </a:ext>
  </a:extLst>
</a:theme>
</file>

<file path=ppt/theme/theme3.xml><?xml version="1.0" encoding="utf-8"?>
<a:theme xmlns:a="http://schemas.openxmlformats.org/drawingml/2006/main" name="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Master PPT Template Update 8.15.22" id="{59C147B4-E17F-9643-ACE6-8334368039BF}" vid="{C59A9172-04D4-8D41-9FD4-D006962AF498}"/>
    </a:ext>
  </a:extLst>
</a:theme>
</file>

<file path=ppt/theme/theme4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F6981D83-6606-4979-8ACA-C55D24DC2C48}" vid="{307D9725-5253-485A-B03A-1E88B1F3DC2D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New PPT template_v5" id="{57D9D350-3A43-5D40-AFE9-7F1BDFB9C4C6}" vid="{FF127E3F-DD42-994F-9555-B3584241DF69}"/>
    </a:ext>
  </a:extLst>
</a:theme>
</file>

<file path=ppt/theme/theme7.xml><?xml version="1.0" encoding="utf-8"?>
<a:theme xmlns:a="http://schemas.openxmlformats.org/drawingml/2006/main" name="2_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New PPT template_v5" id="{57D9D350-3A43-5D40-AFE9-7F1BDFB9C4C6}" vid="{FF127E3F-DD42-994F-9555-B3584241DF69}"/>
    </a:ext>
  </a:extLst>
</a:theme>
</file>

<file path=ppt/theme/theme8.xml><?xml version="1.0" encoding="utf-8"?>
<a:theme xmlns:a="http://schemas.openxmlformats.org/drawingml/2006/main" name="SBI PPT 2022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2" id="{5E45936B-3A31-4DBD-A719-35711901F56E}" vid="{A0C7F62E-8949-4985-834E-6924861C3B68}"/>
    </a:ext>
  </a:extLst>
</a:theme>
</file>

<file path=ppt/theme/theme9.xml><?xml version="1.0" encoding="utf-8"?>
<a:theme xmlns:a="http://schemas.openxmlformats.org/drawingml/2006/main" name="SBI PPT 2023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3" id="{FEBBAE14-4E93-4FE5-A464-AF8B078A50EF}" vid="{12CCEB9F-87FB-4DDF-81AB-F4FE736BF73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39CA6FFAC7B647BC51565ACA704422" ma:contentTypeVersion="17" ma:contentTypeDescription="Create a new document." ma:contentTypeScope="" ma:versionID="29e155390c1fdf931cef6e20b3f14915">
  <xsd:schema xmlns:xsd="http://www.w3.org/2001/XMLSchema" xmlns:xs="http://www.w3.org/2001/XMLSchema" xmlns:p="http://schemas.microsoft.com/office/2006/metadata/properties" xmlns:ns2="21a34300-5197-46be-b418-23015c6478ab" xmlns:ns3="f4615def-bf1f-4433-8275-4353cb14452d" targetNamespace="http://schemas.microsoft.com/office/2006/metadata/properties" ma:root="true" ma:fieldsID="0f7d115c207554f21db9fbdb6cea1bc8" ns2:_="" ns3:_="">
    <xsd:import namespace="21a34300-5197-46be-b418-23015c6478ab"/>
    <xsd:import namespace="f4615def-bf1f-4433-8275-4353cb1445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Industry" minOccurs="0"/>
                <xsd:element ref="ns2:SolutionArea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a34300-5197-46be-b418-23015c6478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Industry" ma:index="12" nillable="true" ma:displayName="Industry" ma:description="Client industry - Technology, SaaS, Software, Industrials, etc." ma:format="Dropdown" ma:internalName="Industry">
      <xsd:simpleType>
        <xsd:restriction base="dms:Text">
          <xsd:maxLength value="100"/>
        </xsd:restriction>
      </xsd:simpleType>
    </xsd:element>
    <xsd:element name="SolutionAreas" ma:index="13" nillable="true" ma:displayName="Solution Areas" ma:description="Areas from the Bingo Board" ma:format="Dropdown" ma:internalName="SolutionAreas">
      <xsd:simpleType>
        <xsd:restriction base="dms:Text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615def-bf1f-4433-8275-4353cb14452d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f6bdd9cc-e45c-438a-ade9-99bfeedeb4da}" ma:internalName="TaxCatchAll" ma:showField="CatchAllData" ma:web="f4615def-bf1f-4433-8275-4353cb1445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4615def-bf1f-4433-8275-4353cb14452d" xsi:nil="true"/>
    <lcf76f155ced4ddcb4097134ff3c332f xmlns="21a34300-5197-46be-b418-23015c6478ab">
      <Terms xmlns="http://schemas.microsoft.com/office/infopath/2007/PartnerControls"/>
    </lcf76f155ced4ddcb4097134ff3c332f>
    <SolutionAreas xmlns="21a34300-5197-46be-b418-23015c6478ab" xsi:nil="true"/>
    <Industry xmlns="21a34300-5197-46be-b418-23015c6478ab" xsi:nil="true"/>
  </documentManagement>
</p:properties>
</file>

<file path=customXml/itemProps1.xml><?xml version="1.0" encoding="utf-8"?>
<ds:datastoreItem xmlns:ds="http://schemas.openxmlformats.org/officeDocument/2006/customXml" ds:itemID="{9AFA66CD-6439-4B7D-93A4-5C5D77E3B1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382167-E270-428C-848D-685F7DECA4AC}">
  <ds:schemaRefs>
    <ds:schemaRef ds:uri="21a34300-5197-46be-b418-23015c6478ab"/>
    <ds:schemaRef ds:uri="f4615def-bf1f-4433-8275-4353cb14452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4099818-D105-41FF-9ACE-1BA5314975FD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21a34300-5197-46be-b418-23015c6478ab"/>
    <ds:schemaRef ds:uri="http://purl.org/dc/elements/1.1/"/>
    <ds:schemaRef ds:uri="http://schemas.microsoft.com/office/2006/metadata/properties"/>
    <ds:schemaRef ds:uri="http://schemas.microsoft.com/office/infopath/2007/PartnerControls"/>
    <ds:schemaRef ds:uri="f4615def-bf1f-4433-8275-4353cb14452d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621</Words>
  <Application>Microsoft Macintosh PowerPoint</Application>
  <PresentationFormat>Widescreen</PresentationFormat>
  <Paragraphs>4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Arial</vt:lpstr>
      <vt:lpstr>Avenir</vt:lpstr>
      <vt:lpstr>Avenir Next LT Pro</vt:lpstr>
      <vt:lpstr>Calibri</vt:lpstr>
      <vt:lpstr>Calibri Light</vt:lpstr>
      <vt:lpstr>Courier New</vt:lpstr>
      <vt:lpstr>3_Office Theme</vt:lpstr>
      <vt:lpstr>4_Office Theme</vt:lpstr>
      <vt:lpstr>Office Theme</vt:lpstr>
      <vt:lpstr>SBI PPT</vt:lpstr>
      <vt:lpstr>Custom Design</vt:lpstr>
      <vt:lpstr>1_Office Theme</vt:lpstr>
      <vt:lpstr>2_Office Theme</vt:lpstr>
      <vt:lpstr>SBI PPT 2022</vt:lpstr>
      <vt:lpstr>SBI PPT 2023</vt:lpstr>
      <vt:lpstr>5_Office Theme</vt:lpstr>
      <vt:lpstr>think-cell Slide</vt:lpstr>
      <vt:lpstr>Maturity model for artificial intelligence in go-to-mark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ulting Organization  ELT QBR Update</dc:title>
  <dc:creator>Gregory Solomon</dc:creator>
  <cp:lastModifiedBy>Bryan Kurey</cp:lastModifiedBy>
  <cp:revision>2</cp:revision>
  <dcterms:created xsi:type="dcterms:W3CDTF">2021-09-16T17:19:19Z</dcterms:created>
  <dcterms:modified xsi:type="dcterms:W3CDTF">2025-06-10T13:2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39CA6FFAC7B647BC51565ACA704422</vt:lpwstr>
  </property>
  <property fmtid="{D5CDD505-2E9C-101B-9397-08002B2CF9AE}" pid="3" name="Order">
    <vt:r8>300</vt:r8>
  </property>
  <property fmtid="{D5CDD505-2E9C-101B-9397-08002B2CF9AE}" pid="4" name="MediaServiceImageTags">
    <vt:lpwstr/>
  </property>
</Properties>
</file>